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7" r:id="rId4"/>
  </p:sldMasterIdLst>
  <p:notesMasterIdLst>
    <p:notesMasterId r:id="rId21"/>
  </p:notesMasterIdLst>
  <p:sldIdLst>
    <p:sldId id="291" r:id="rId5"/>
    <p:sldId id="256" r:id="rId6"/>
    <p:sldId id="257" r:id="rId7"/>
    <p:sldId id="350" r:id="rId8"/>
    <p:sldId id="352" r:id="rId9"/>
    <p:sldId id="353" r:id="rId10"/>
    <p:sldId id="354" r:id="rId11"/>
    <p:sldId id="355" r:id="rId12"/>
    <p:sldId id="356" r:id="rId13"/>
    <p:sldId id="360" r:id="rId14"/>
    <p:sldId id="357" r:id="rId15"/>
    <p:sldId id="361" r:id="rId16"/>
    <p:sldId id="359" r:id="rId17"/>
    <p:sldId id="364" r:id="rId18"/>
    <p:sldId id="347" r:id="rId19"/>
    <p:sldId id="366" r:id="rId20"/>
  </p:sldIdLst>
  <p:sldSz cx="9144000" cy="5143500" type="screen16x9"/>
  <p:notesSz cx="6858000" cy="9144000"/>
  <p:embeddedFontLst>
    <p:embeddedFont>
      <p:font typeface="Muli" panose="020B0604020202020204" charset="0"/>
      <p:regular r:id="rId22"/>
      <p:bold r:id="rId23"/>
      <p:italic r:id="rId24"/>
      <p:boldItalic r:id="rId25"/>
    </p:embeddedFont>
    <p:embeddedFont>
      <p:font typeface="Segoe UI Symbol" panose="020B0502040204020203" pitchFamily="34" charset="0"/>
      <p:regular r:id="rId26"/>
    </p:embeddedFont>
    <p:embeddedFont>
      <p:font typeface="Papyrus" panose="03070502060502030205" pitchFamily="66" charset="0"/>
      <p:regular r:id="rId27"/>
    </p:embeddedFont>
    <p:embeddedFont>
      <p:font typeface="MV Boli" panose="02000500030200090000" pitchFamily="2" charset="0"/>
      <p:regular r:id="rId28"/>
    </p:embeddedFont>
    <p:embeddedFont>
      <p:font typeface="Helvetica Neue" panose="020B0604020202020204" charset="0"/>
      <p:regular r:id="rId29"/>
      <p:bold r:id="rId30"/>
      <p:italic r:id="rId31"/>
      <p:boldItalic r:id="rId32"/>
    </p:embeddedFont>
    <p:embeddedFont>
      <p:font typeface="Calibri" panose="020F0502020204030204" pitchFamily="34" charset="0"/>
      <p:regular r:id="rId33"/>
      <p:bold r:id="rId34"/>
      <p:italic r:id="rId35"/>
      <p:boldItalic r:id="rId36"/>
    </p:embeddedFont>
    <p:embeddedFont>
      <p:font typeface="Nixie One" panose="020B0604020202020204" charset="0"/>
      <p:regular r:id="rId37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EFF5D04-ACAD-4987-AABB-F5B7CD0A74AF}">
  <a:tblStyle styleId="{5EFF5D04-ACAD-4987-AABB-F5B7CD0A74AF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7" d="100"/>
          <a:sy n="147" d="100"/>
        </p:scale>
        <p:origin x="580" y="1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5.fntdata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34" Type="http://schemas.openxmlformats.org/officeDocument/2006/relationships/font" Target="fonts/font13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4.fntdata"/><Relationship Id="rId33" Type="http://schemas.openxmlformats.org/officeDocument/2006/relationships/font" Target="fonts/font12.fntdata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8.fntdata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3.fntdata"/><Relationship Id="rId32" Type="http://schemas.openxmlformats.org/officeDocument/2006/relationships/font" Target="fonts/font11.fntdata"/><Relationship Id="rId37" Type="http://schemas.openxmlformats.org/officeDocument/2006/relationships/font" Target="fonts/font16.fntdata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font" Target="fonts/font15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10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font" Target="fonts/font14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Google Shape;334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35" name="Google Shape;335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0" name="Google Shape;340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716299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1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078824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0" name="Google Shape;340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747964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0" name="Google Shape;340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78756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1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3477596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1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829985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0" name="Google Shape;340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0" name="Google Shape;340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689515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0" name="Google Shape;340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417332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0" name="Google Shape;340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980913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0" name="Google Shape;340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36160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0" name="Google Shape;340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194724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0" name="Google Shape;340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485199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1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852390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/>
          <p:nvPr/>
        </p:nvSpPr>
        <p:spPr>
          <a:xfrm rot="10800000" flipH="1">
            <a:off x="3919993" y="3977033"/>
            <a:ext cx="1303500" cy="11283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30000" y="0"/>
                </a:moveTo>
                <a:lnTo>
                  <a:pt x="0" y="59994"/>
                </a:lnTo>
                <a:lnTo>
                  <a:pt x="30000" y="120000"/>
                </a:lnTo>
                <a:lnTo>
                  <a:pt x="90000" y="120000"/>
                </a:lnTo>
                <a:lnTo>
                  <a:pt x="120000" y="59994"/>
                </a:lnTo>
                <a:lnTo>
                  <a:pt x="90000" y="0"/>
                </a:lnTo>
                <a:lnTo>
                  <a:pt x="30000" y="0"/>
                </a:lnTo>
                <a:close/>
                <a:moveTo>
                  <a:pt x="38477" y="16950"/>
                </a:moveTo>
                <a:lnTo>
                  <a:pt x="81522" y="16950"/>
                </a:lnTo>
                <a:lnTo>
                  <a:pt x="103033" y="59994"/>
                </a:lnTo>
                <a:lnTo>
                  <a:pt x="81522" y="103038"/>
                </a:lnTo>
                <a:lnTo>
                  <a:pt x="38477" y="103038"/>
                </a:lnTo>
                <a:lnTo>
                  <a:pt x="16955" y="59994"/>
                </a:lnTo>
                <a:lnTo>
                  <a:pt x="38477" y="16950"/>
                </a:lnTo>
                <a:close/>
              </a:path>
            </a:pathLst>
          </a:custGeom>
          <a:gradFill>
            <a:gsLst>
              <a:gs pos="0">
                <a:srgbClr val="3393E2"/>
              </a:gs>
              <a:gs pos="100000">
                <a:srgbClr val="00E2C7"/>
              </a:gs>
            </a:gsLst>
            <a:lin ang="6983783" scaled="0"/>
          </a:gradFill>
          <a:ln>
            <a:noFill/>
          </a:ln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Helvetica Neue"/>
              <a:buNone/>
            </a:pPr>
            <a:endParaRPr sz="3200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" name="Google Shape;11;p2"/>
          <p:cNvSpPr/>
          <p:nvPr/>
        </p:nvSpPr>
        <p:spPr>
          <a:xfrm rot="5400000">
            <a:off x="3809057" y="-81000"/>
            <a:ext cx="1525500" cy="17616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60000" y="0"/>
                </a:moveTo>
                <a:lnTo>
                  <a:pt x="120000" y="30000"/>
                </a:lnTo>
                <a:lnTo>
                  <a:pt x="120000" y="90000"/>
                </a:lnTo>
                <a:lnTo>
                  <a:pt x="60000" y="120000"/>
                </a:lnTo>
                <a:lnTo>
                  <a:pt x="0" y="90000"/>
                </a:lnTo>
                <a:lnTo>
                  <a:pt x="0" y="30000"/>
                </a:lnTo>
                <a:close/>
              </a:path>
            </a:pathLst>
          </a:custGeom>
          <a:gradFill>
            <a:gsLst>
              <a:gs pos="0">
                <a:srgbClr val="3393E2"/>
              </a:gs>
              <a:gs pos="100000">
                <a:srgbClr val="00E2C7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Helvetica Neue"/>
              <a:buNone/>
            </a:pPr>
            <a:endParaRPr sz="3200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1400175" y="1991825"/>
            <a:ext cx="6343500" cy="11598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3" name="Google Shape;13;p2"/>
          <p:cNvSpPr/>
          <p:nvPr/>
        </p:nvSpPr>
        <p:spPr>
          <a:xfrm rot="10800000" flipH="1">
            <a:off x="2809875" y="-172875"/>
            <a:ext cx="1111500" cy="962400"/>
          </a:xfrm>
          <a:prstGeom prst="hexagon">
            <a:avLst>
              <a:gd name="adj" fmla="val 28678"/>
              <a:gd name="vf" fmla="val 115470"/>
            </a:avLst>
          </a:prstGeom>
          <a:noFill/>
          <a:ln w="19050" cap="flat" cmpd="sng">
            <a:solidFill>
              <a:srgbClr val="19BBD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" name="Google Shape;14;p2"/>
          <p:cNvSpPr/>
          <p:nvPr/>
        </p:nvSpPr>
        <p:spPr>
          <a:xfrm rot="10800000" flipH="1">
            <a:off x="3602723" y="1360109"/>
            <a:ext cx="493800" cy="427500"/>
          </a:xfrm>
          <a:prstGeom prst="hexagon">
            <a:avLst>
              <a:gd name="adj" fmla="val 28678"/>
              <a:gd name="vf" fmla="val 115470"/>
            </a:avLst>
          </a:prstGeom>
          <a:solidFill>
            <a:srgbClr val="18476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" name="Google Shape;15;p2"/>
          <p:cNvSpPr/>
          <p:nvPr/>
        </p:nvSpPr>
        <p:spPr>
          <a:xfrm rot="10800000" flipH="1">
            <a:off x="5278915" y="855279"/>
            <a:ext cx="944700" cy="818100"/>
          </a:xfrm>
          <a:prstGeom prst="hexagon">
            <a:avLst>
              <a:gd name="adj" fmla="val 28678"/>
              <a:gd name="vf" fmla="val 115470"/>
            </a:avLst>
          </a:prstGeom>
          <a:noFill/>
          <a:ln w="76200" cap="flat" cmpd="sng">
            <a:solidFill>
              <a:srgbClr val="184769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" name="Google Shape;16;p2"/>
          <p:cNvSpPr/>
          <p:nvPr/>
        </p:nvSpPr>
        <p:spPr>
          <a:xfrm rot="10800000" flipH="1">
            <a:off x="5365799" y="352324"/>
            <a:ext cx="493800" cy="427200"/>
          </a:xfrm>
          <a:prstGeom prst="hexagon">
            <a:avLst>
              <a:gd name="adj" fmla="val 28678"/>
              <a:gd name="vf" fmla="val 115470"/>
            </a:avLst>
          </a:prstGeom>
          <a:solidFill>
            <a:srgbClr val="00E1C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" name="Google Shape;17;p2"/>
          <p:cNvGrpSpPr/>
          <p:nvPr/>
        </p:nvGrpSpPr>
        <p:grpSpPr>
          <a:xfrm>
            <a:off x="5549153" y="1029780"/>
            <a:ext cx="404640" cy="374059"/>
            <a:chOff x="5975075" y="2327500"/>
            <a:chExt cx="420100" cy="388350"/>
          </a:xfrm>
        </p:grpSpPr>
        <p:sp>
          <p:nvSpPr>
            <p:cNvPr id="18" name="Google Shape;18;p2"/>
            <p:cNvSpPr/>
            <p:nvPr/>
          </p:nvSpPr>
          <p:spPr>
            <a:xfrm>
              <a:off x="5975075" y="2474650"/>
              <a:ext cx="98325" cy="220450"/>
            </a:xfrm>
            <a:custGeom>
              <a:avLst/>
              <a:gdLst/>
              <a:ahLst/>
              <a:cxnLst/>
              <a:rect l="l" t="t" r="r" b="b"/>
              <a:pathLst>
                <a:path w="3933" h="8818" extrusionOk="0">
                  <a:moveTo>
                    <a:pt x="2418" y="1002"/>
                  </a:moveTo>
                  <a:lnTo>
                    <a:pt x="2565" y="1027"/>
                  </a:lnTo>
                  <a:lnTo>
                    <a:pt x="2687" y="1075"/>
                  </a:lnTo>
                  <a:lnTo>
                    <a:pt x="2809" y="1124"/>
                  </a:lnTo>
                  <a:lnTo>
                    <a:pt x="2907" y="1222"/>
                  </a:lnTo>
                  <a:lnTo>
                    <a:pt x="3005" y="1320"/>
                  </a:lnTo>
                  <a:lnTo>
                    <a:pt x="3078" y="1442"/>
                  </a:lnTo>
                  <a:lnTo>
                    <a:pt x="3102" y="1564"/>
                  </a:lnTo>
                  <a:lnTo>
                    <a:pt x="3127" y="1710"/>
                  </a:lnTo>
                  <a:lnTo>
                    <a:pt x="3102" y="1857"/>
                  </a:lnTo>
                  <a:lnTo>
                    <a:pt x="3078" y="1979"/>
                  </a:lnTo>
                  <a:lnTo>
                    <a:pt x="3005" y="2101"/>
                  </a:lnTo>
                  <a:lnTo>
                    <a:pt x="2907" y="2223"/>
                  </a:lnTo>
                  <a:lnTo>
                    <a:pt x="2809" y="2297"/>
                  </a:lnTo>
                  <a:lnTo>
                    <a:pt x="2687" y="2370"/>
                  </a:lnTo>
                  <a:lnTo>
                    <a:pt x="2565" y="2394"/>
                  </a:lnTo>
                  <a:lnTo>
                    <a:pt x="2418" y="2419"/>
                  </a:lnTo>
                  <a:lnTo>
                    <a:pt x="2272" y="2394"/>
                  </a:lnTo>
                  <a:lnTo>
                    <a:pt x="2150" y="2370"/>
                  </a:lnTo>
                  <a:lnTo>
                    <a:pt x="2028" y="2297"/>
                  </a:lnTo>
                  <a:lnTo>
                    <a:pt x="1930" y="2223"/>
                  </a:lnTo>
                  <a:lnTo>
                    <a:pt x="1832" y="2101"/>
                  </a:lnTo>
                  <a:lnTo>
                    <a:pt x="1759" y="1979"/>
                  </a:lnTo>
                  <a:lnTo>
                    <a:pt x="1735" y="1857"/>
                  </a:lnTo>
                  <a:lnTo>
                    <a:pt x="1710" y="1710"/>
                  </a:lnTo>
                  <a:lnTo>
                    <a:pt x="1735" y="1564"/>
                  </a:lnTo>
                  <a:lnTo>
                    <a:pt x="1759" y="1442"/>
                  </a:lnTo>
                  <a:lnTo>
                    <a:pt x="1832" y="1320"/>
                  </a:lnTo>
                  <a:lnTo>
                    <a:pt x="1930" y="1222"/>
                  </a:lnTo>
                  <a:lnTo>
                    <a:pt x="2028" y="1124"/>
                  </a:lnTo>
                  <a:lnTo>
                    <a:pt x="2150" y="1075"/>
                  </a:lnTo>
                  <a:lnTo>
                    <a:pt x="2272" y="1027"/>
                  </a:lnTo>
                  <a:lnTo>
                    <a:pt x="2418" y="1002"/>
                  </a:lnTo>
                  <a:close/>
                  <a:moveTo>
                    <a:pt x="1" y="1"/>
                  </a:moveTo>
                  <a:lnTo>
                    <a:pt x="1" y="8817"/>
                  </a:lnTo>
                  <a:lnTo>
                    <a:pt x="3933" y="8817"/>
                  </a:lnTo>
                  <a:lnTo>
                    <a:pt x="3933" y="1"/>
                  </a:lnTo>
                  <a:close/>
                </a:path>
              </a:pathLst>
            </a:custGeom>
            <a:solidFill>
              <a:srgbClr val="18476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9;p2"/>
            <p:cNvSpPr/>
            <p:nvPr/>
          </p:nvSpPr>
          <p:spPr>
            <a:xfrm>
              <a:off x="6088025" y="2327500"/>
              <a:ext cx="307150" cy="388350"/>
            </a:xfrm>
            <a:custGeom>
              <a:avLst/>
              <a:gdLst/>
              <a:ahLst/>
              <a:cxnLst/>
              <a:rect l="l" t="t" r="r" b="b"/>
              <a:pathLst>
                <a:path w="12286" h="15534" extrusionOk="0">
                  <a:moveTo>
                    <a:pt x="6326" y="1"/>
                  </a:moveTo>
                  <a:lnTo>
                    <a:pt x="5960" y="25"/>
                  </a:lnTo>
                  <a:lnTo>
                    <a:pt x="5716" y="74"/>
                  </a:lnTo>
                  <a:lnTo>
                    <a:pt x="5520" y="147"/>
                  </a:lnTo>
                  <a:lnTo>
                    <a:pt x="5374" y="221"/>
                  </a:lnTo>
                  <a:lnTo>
                    <a:pt x="4983" y="1466"/>
                  </a:lnTo>
                  <a:lnTo>
                    <a:pt x="4788" y="2028"/>
                  </a:lnTo>
                  <a:lnTo>
                    <a:pt x="4592" y="2541"/>
                  </a:lnTo>
                  <a:lnTo>
                    <a:pt x="4397" y="3005"/>
                  </a:lnTo>
                  <a:lnTo>
                    <a:pt x="4202" y="3396"/>
                  </a:lnTo>
                  <a:lnTo>
                    <a:pt x="4031" y="3689"/>
                  </a:lnTo>
                  <a:lnTo>
                    <a:pt x="3884" y="3933"/>
                  </a:lnTo>
                  <a:lnTo>
                    <a:pt x="3664" y="4153"/>
                  </a:lnTo>
                  <a:lnTo>
                    <a:pt x="3322" y="4495"/>
                  </a:lnTo>
                  <a:lnTo>
                    <a:pt x="2516" y="5252"/>
                  </a:lnTo>
                  <a:lnTo>
                    <a:pt x="1442" y="6229"/>
                  </a:lnTo>
                  <a:lnTo>
                    <a:pt x="1" y="6229"/>
                  </a:lnTo>
                  <a:lnTo>
                    <a:pt x="1" y="13433"/>
                  </a:lnTo>
                  <a:lnTo>
                    <a:pt x="1515" y="13433"/>
                  </a:lnTo>
                  <a:lnTo>
                    <a:pt x="2004" y="13678"/>
                  </a:lnTo>
                  <a:lnTo>
                    <a:pt x="2687" y="13971"/>
                  </a:lnTo>
                  <a:lnTo>
                    <a:pt x="3567" y="14313"/>
                  </a:lnTo>
                  <a:lnTo>
                    <a:pt x="4544" y="14679"/>
                  </a:lnTo>
                  <a:lnTo>
                    <a:pt x="5594" y="14997"/>
                  </a:lnTo>
                  <a:lnTo>
                    <a:pt x="6131" y="15143"/>
                  </a:lnTo>
                  <a:lnTo>
                    <a:pt x="6668" y="15265"/>
                  </a:lnTo>
                  <a:lnTo>
                    <a:pt x="7181" y="15387"/>
                  </a:lnTo>
                  <a:lnTo>
                    <a:pt x="7694" y="15461"/>
                  </a:lnTo>
                  <a:lnTo>
                    <a:pt x="8158" y="15509"/>
                  </a:lnTo>
                  <a:lnTo>
                    <a:pt x="8622" y="15534"/>
                  </a:lnTo>
                  <a:lnTo>
                    <a:pt x="9404" y="15534"/>
                  </a:lnTo>
                  <a:lnTo>
                    <a:pt x="9819" y="15509"/>
                  </a:lnTo>
                  <a:lnTo>
                    <a:pt x="10210" y="15461"/>
                  </a:lnTo>
                  <a:lnTo>
                    <a:pt x="10552" y="15363"/>
                  </a:lnTo>
                  <a:lnTo>
                    <a:pt x="10723" y="15314"/>
                  </a:lnTo>
                  <a:lnTo>
                    <a:pt x="10845" y="15265"/>
                  </a:lnTo>
                  <a:lnTo>
                    <a:pt x="10967" y="15192"/>
                  </a:lnTo>
                  <a:lnTo>
                    <a:pt x="11064" y="15094"/>
                  </a:lnTo>
                  <a:lnTo>
                    <a:pt x="11113" y="14997"/>
                  </a:lnTo>
                  <a:lnTo>
                    <a:pt x="11162" y="14874"/>
                  </a:lnTo>
                  <a:lnTo>
                    <a:pt x="11235" y="14166"/>
                  </a:lnTo>
                  <a:lnTo>
                    <a:pt x="11211" y="13995"/>
                  </a:lnTo>
                  <a:lnTo>
                    <a:pt x="11162" y="13849"/>
                  </a:lnTo>
                  <a:lnTo>
                    <a:pt x="11064" y="13702"/>
                  </a:lnTo>
                  <a:lnTo>
                    <a:pt x="10918" y="13580"/>
                  </a:lnTo>
                  <a:lnTo>
                    <a:pt x="11040" y="13556"/>
                  </a:lnTo>
                  <a:lnTo>
                    <a:pt x="11162" y="13507"/>
                  </a:lnTo>
                  <a:lnTo>
                    <a:pt x="11284" y="13458"/>
                  </a:lnTo>
                  <a:lnTo>
                    <a:pt x="11382" y="13360"/>
                  </a:lnTo>
                  <a:lnTo>
                    <a:pt x="11455" y="13263"/>
                  </a:lnTo>
                  <a:lnTo>
                    <a:pt x="11528" y="13140"/>
                  </a:lnTo>
                  <a:lnTo>
                    <a:pt x="11577" y="12994"/>
                  </a:lnTo>
                  <a:lnTo>
                    <a:pt x="11602" y="12872"/>
                  </a:lnTo>
                  <a:lnTo>
                    <a:pt x="11675" y="11993"/>
                  </a:lnTo>
                  <a:lnTo>
                    <a:pt x="11675" y="11870"/>
                  </a:lnTo>
                  <a:lnTo>
                    <a:pt x="11675" y="11773"/>
                  </a:lnTo>
                  <a:lnTo>
                    <a:pt x="11651" y="11651"/>
                  </a:lnTo>
                  <a:lnTo>
                    <a:pt x="11602" y="11553"/>
                  </a:lnTo>
                  <a:lnTo>
                    <a:pt x="11480" y="11382"/>
                  </a:lnTo>
                  <a:lnTo>
                    <a:pt x="11406" y="11309"/>
                  </a:lnTo>
                  <a:lnTo>
                    <a:pt x="11333" y="11235"/>
                  </a:lnTo>
                  <a:lnTo>
                    <a:pt x="11455" y="11211"/>
                  </a:lnTo>
                  <a:lnTo>
                    <a:pt x="11553" y="11162"/>
                  </a:lnTo>
                  <a:lnTo>
                    <a:pt x="11651" y="11089"/>
                  </a:lnTo>
                  <a:lnTo>
                    <a:pt x="11748" y="10991"/>
                  </a:lnTo>
                  <a:lnTo>
                    <a:pt x="11822" y="10893"/>
                  </a:lnTo>
                  <a:lnTo>
                    <a:pt x="11870" y="10796"/>
                  </a:lnTo>
                  <a:lnTo>
                    <a:pt x="11919" y="10674"/>
                  </a:lnTo>
                  <a:lnTo>
                    <a:pt x="11944" y="10527"/>
                  </a:lnTo>
                  <a:lnTo>
                    <a:pt x="12017" y="9672"/>
                  </a:lnTo>
                  <a:lnTo>
                    <a:pt x="12017" y="9550"/>
                  </a:lnTo>
                  <a:lnTo>
                    <a:pt x="12017" y="9428"/>
                  </a:lnTo>
                  <a:lnTo>
                    <a:pt x="11993" y="9306"/>
                  </a:lnTo>
                  <a:lnTo>
                    <a:pt x="11944" y="9208"/>
                  </a:lnTo>
                  <a:lnTo>
                    <a:pt x="11895" y="9111"/>
                  </a:lnTo>
                  <a:lnTo>
                    <a:pt x="11822" y="9037"/>
                  </a:lnTo>
                  <a:lnTo>
                    <a:pt x="11748" y="8964"/>
                  </a:lnTo>
                  <a:lnTo>
                    <a:pt x="11651" y="8891"/>
                  </a:lnTo>
                  <a:lnTo>
                    <a:pt x="11748" y="8866"/>
                  </a:lnTo>
                  <a:lnTo>
                    <a:pt x="11846" y="8793"/>
                  </a:lnTo>
                  <a:lnTo>
                    <a:pt x="11944" y="8720"/>
                  </a:lnTo>
                  <a:lnTo>
                    <a:pt x="12017" y="8647"/>
                  </a:lnTo>
                  <a:lnTo>
                    <a:pt x="12090" y="8549"/>
                  </a:lnTo>
                  <a:lnTo>
                    <a:pt x="12139" y="8451"/>
                  </a:lnTo>
                  <a:lnTo>
                    <a:pt x="12163" y="8329"/>
                  </a:lnTo>
                  <a:lnTo>
                    <a:pt x="12188" y="8207"/>
                  </a:lnTo>
                  <a:lnTo>
                    <a:pt x="12286" y="7328"/>
                  </a:lnTo>
                  <a:lnTo>
                    <a:pt x="12261" y="7206"/>
                  </a:lnTo>
                  <a:lnTo>
                    <a:pt x="12237" y="7083"/>
                  </a:lnTo>
                  <a:lnTo>
                    <a:pt x="12188" y="6986"/>
                  </a:lnTo>
                  <a:lnTo>
                    <a:pt x="12139" y="6888"/>
                  </a:lnTo>
                  <a:lnTo>
                    <a:pt x="12066" y="6790"/>
                  </a:lnTo>
                  <a:lnTo>
                    <a:pt x="11968" y="6717"/>
                  </a:lnTo>
                  <a:lnTo>
                    <a:pt x="11748" y="6571"/>
                  </a:lnTo>
                  <a:lnTo>
                    <a:pt x="11504" y="6448"/>
                  </a:lnTo>
                  <a:lnTo>
                    <a:pt x="11211" y="6351"/>
                  </a:lnTo>
                  <a:lnTo>
                    <a:pt x="10893" y="6278"/>
                  </a:lnTo>
                  <a:lnTo>
                    <a:pt x="10576" y="6229"/>
                  </a:lnTo>
                  <a:lnTo>
                    <a:pt x="9892" y="6131"/>
                  </a:lnTo>
                  <a:lnTo>
                    <a:pt x="8842" y="6033"/>
                  </a:lnTo>
                  <a:lnTo>
                    <a:pt x="7596" y="5960"/>
                  </a:lnTo>
                  <a:lnTo>
                    <a:pt x="6326" y="5887"/>
                  </a:lnTo>
                  <a:lnTo>
                    <a:pt x="6497" y="5594"/>
                  </a:lnTo>
                  <a:lnTo>
                    <a:pt x="6644" y="5252"/>
                  </a:lnTo>
                  <a:lnTo>
                    <a:pt x="6790" y="4885"/>
                  </a:lnTo>
                  <a:lnTo>
                    <a:pt x="6888" y="4495"/>
                  </a:lnTo>
                  <a:lnTo>
                    <a:pt x="6986" y="4104"/>
                  </a:lnTo>
                  <a:lnTo>
                    <a:pt x="7083" y="3689"/>
                  </a:lnTo>
                  <a:lnTo>
                    <a:pt x="7181" y="2883"/>
                  </a:lnTo>
                  <a:lnTo>
                    <a:pt x="7254" y="2150"/>
                  </a:lnTo>
                  <a:lnTo>
                    <a:pt x="7303" y="1539"/>
                  </a:lnTo>
                  <a:lnTo>
                    <a:pt x="7303" y="978"/>
                  </a:lnTo>
                  <a:lnTo>
                    <a:pt x="7303" y="807"/>
                  </a:lnTo>
                  <a:lnTo>
                    <a:pt x="7230" y="611"/>
                  </a:lnTo>
                  <a:lnTo>
                    <a:pt x="7157" y="465"/>
                  </a:lnTo>
                  <a:lnTo>
                    <a:pt x="7035" y="318"/>
                  </a:lnTo>
                  <a:lnTo>
                    <a:pt x="6888" y="172"/>
                  </a:lnTo>
                  <a:lnTo>
                    <a:pt x="6717" y="98"/>
                  </a:lnTo>
                  <a:lnTo>
                    <a:pt x="6522" y="25"/>
                  </a:lnTo>
                  <a:lnTo>
                    <a:pt x="6326" y="1"/>
                  </a:lnTo>
                  <a:close/>
                </a:path>
              </a:pathLst>
            </a:custGeom>
            <a:solidFill>
              <a:srgbClr val="18476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" name="Google Shape;20;p2"/>
          <p:cNvSpPr/>
          <p:nvPr/>
        </p:nvSpPr>
        <p:spPr>
          <a:xfrm>
            <a:off x="3253021" y="113273"/>
            <a:ext cx="225085" cy="389964"/>
          </a:xfrm>
          <a:custGeom>
            <a:avLst/>
            <a:gdLst/>
            <a:ahLst/>
            <a:cxnLst/>
            <a:rect l="l" t="t" r="r" b="b"/>
            <a:pathLst>
              <a:path w="11870" h="20565" extrusionOk="0">
                <a:moveTo>
                  <a:pt x="6301" y="977"/>
                </a:moveTo>
                <a:lnTo>
                  <a:pt x="6423" y="1002"/>
                </a:lnTo>
                <a:lnTo>
                  <a:pt x="6497" y="1075"/>
                </a:lnTo>
                <a:lnTo>
                  <a:pt x="6570" y="1148"/>
                </a:lnTo>
                <a:lnTo>
                  <a:pt x="6594" y="1270"/>
                </a:lnTo>
                <a:lnTo>
                  <a:pt x="6570" y="1368"/>
                </a:lnTo>
                <a:lnTo>
                  <a:pt x="6497" y="1466"/>
                </a:lnTo>
                <a:lnTo>
                  <a:pt x="6423" y="1515"/>
                </a:lnTo>
                <a:lnTo>
                  <a:pt x="6301" y="1539"/>
                </a:lnTo>
                <a:lnTo>
                  <a:pt x="5569" y="1539"/>
                </a:lnTo>
                <a:lnTo>
                  <a:pt x="5446" y="1515"/>
                </a:lnTo>
                <a:lnTo>
                  <a:pt x="5373" y="1466"/>
                </a:lnTo>
                <a:lnTo>
                  <a:pt x="5300" y="1368"/>
                </a:lnTo>
                <a:lnTo>
                  <a:pt x="5276" y="1270"/>
                </a:lnTo>
                <a:lnTo>
                  <a:pt x="5300" y="1148"/>
                </a:lnTo>
                <a:lnTo>
                  <a:pt x="5373" y="1075"/>
                </a:lnTo>
                <a:lnTo>
                  <a:pt x="5446" y="1002"/>
                </a:lnTo>
                <a:lnTo>
                  <a:pt x="5569" y="977"/>
                </a:lnTo>
                <a:close/>
                <a:moveTo>
                  <a:pt x="10575" y="2565"/>
                </a:moveTo>
                <a:lnTo>
                  <a:pt x="10575" y="16706"/>
                </a:lnTo>
                <a:lnTo>
                  <a:pt x="1295" y="16706"/>
                </a:lnTo>
                <a:lnTo>
                  <a:pt x="1295" y="2565"/>
                </a:lnTo>
                <a:close/>
                <a:moveTo>
                  <a:pt x="5935" y="17780"/>
                </a:moveTo>
                <a:lnTo>
                  <a:pt x="6106" y="17805"/>
                </a:lnTo>
                <a:lnTo>
                  <a:pt x="6277" y="17854"/>
                </a:lnTo>
                <a:lnTo>
                  <a:pt x="6423" y="17927"/>
                </a:lnTo>
                <a:lnTo>
                  <a:pt x="6545" y="18025"/>
                </a:lnTo>
                <a:lnTo>
                  <a:pt x="6643" y="18147"/>
                </a:lnTo>
                <a:lnTo>
                  <a:pt x="6716" y="18293"/>
                </a:lnTo>
                <a:lnTo>
                  <a:pt x="6765" y="18464"/>
                </a:lnTo>
                <a:lnTo>
                  <a:pt x="6790" y="18635"/>
                </a:lnTo>
                <a:lnTo>
                  <a:pt x="6765" y="18806"/>
                </a:lnTo>
                <a:lnTo>
                  <a:pt x="6716" y="18977"/>
                </a:lnTo>
                <a:lnTo>
                  <a:pt x="6643" y="19124"/>
                </a:lnTo>
                <a:lnTo>
                  <a:pt x="6545" y="19246"/>
                </a:lnTo>
                <a:lnTo>
                  <a:pt x="6423" y="19343"/>
                </a:lnTo>
                <a:lnTo>
                  <a:pt x="6277" y="19417"/>
                </a:lnTo>
                <a:lnTo>
                  <a:pt x="6106" y="19465"/>
                </a:lnTo>
                <a:lnTo>
                  <a:pt x="5935" y="19490"/>
                </a:lnTo>
                <a:lnTo>
                  <a:pt x="5764" y="19465"/>
                </a:lnTo>
                <a:lnTo>
                  <a:pt x="5593" y="19417"/>
                </a:lnTo>
                <a:lnTo>
                  <a:pt x="5446" y="19343"/>
                </a:lnTo>
                <a:lnTo>
                  <a:pt x="5324" y="19246"/>
                </a:lnTo>
                <a:lnTo>
                  <a:pt x="5227" y="19124"/>
                </a:lnTo>
                <a:lnTo>
                  <a:pt x="5153" y="18977"/>
                </a:lnTo>
                <a:lnTo>
                  <a:pt x="5105" y="18806"/>
                </a:lnTo>
                <a:lnTo>
                  <a:pt x="5080" y="18635"/>
                </a:lnTo>
                <a:lnTo>
                  <a:pt x="5105" y="18464"/>
                </a:lnTo>
                <a:lnTo>
                  <a:pt x="5153" y="18293"/>
                </a:lnTo>
                <a:lnTo>
                  <a:pt x="5227" y="18147"/>
                </a:lnTo>
                <a:lnTo>
                  <a:pt x="5324" y="18025"/>
                </a:lnTo>
                <a:lnTo>
                  <a:pt x="5446" y="17927"/>
                </a:lnTo>
                <a:lnTo>
                  <a:pt x="5593" y="17854"/>
                </a:lnTo>
                <a:lnTo>
                  <a:pt x="5764" y="17805"/>
                </a:lnTo>
                <a:lnTo>
                  <a:pt x="5935" y="17780"/>
                </a:lnTo>
                <a:close/>
                <a:moveTo>
                  <a:pt x="1295" y="0"/>
                </a:moveTo>
                <a:lnTo>
                  <a:pt x="1026" y="25"/>
                </a:lnTo>
                <a:lnTo>
                  <a:pt x="782" y="98"/>
                </a:lnTo>
                <a:lnTo>
                  <a:pt x="562" y="220"/>
                </a:lnTo>
                <a:lnTo>
                  <a:pt x="366" y="367"/>
                </a:lnTo>
                <a:lnTo>
                  <a:pt x="220" y="562"/>
                </a:lnTo>
                <a:lnTo>
                  <a:pt x="98" y="782"/>
                </a:lnTo>
                <a:lnTo>
                  <a:pt x="25" y="1026"/>
                </a:lnTo>
                <a:lnTo>
                  <a:pt x="0" y="1295"/>
                </a:lnTo>
                <a:lnTo>
                  <a:pt x="0" y="19270"/>
                </a:lnTo>
                <a:lnTo>
                  <a:pt x="25" y="19539"/>
                </a:lnTo>
                <a:lnTo>
                  <a:pt x="98" y="19783"/>
                </a:lnTo>
                <a:lnTo>
                  <a:pt x="220" y="20003"/>
                </a:lnTo>
                <a:lnTo>
                  <a:pt x="366" y="20198"/>
                </a:lnTo>
                <a:lnTo>
                  <a:pt x="562" y="20345"/>
                </a:lnTo>
                <a:lnTo>
                  <a:pt x="782" y="20467"/>
                </a:lnTo>
                <a:lnTo>
                  <a:pt x="1026" y="20540"/>
                </a:lnTo>
                <a:lnTo>
                  <a:pt x="1295" y="20565"/>
                </a:lnTo>
                <a:lnTo>
                  <a:pt x="10575" y="20565"/>
                </a:lnTo>
                <a:lnTo>
                  <a:pt x="10844" y="20540"/>
                </a:lnTo>
                <a:lnTo>
                  <a:pt x="11088" y="20467"/>
                </a:lnTo>
                <a:lnTo>
                  <a:pt x="11308" y="20345"/>
                </a:lnTo>
                <a:lnTo>
                  <a:pt x="11503" y="20198"/>
                </a:lnTo>
                <a:lnTo>
                  <a:pt x="11650" y="20003"/>
                </a:lnTo>
                <a:lnTo>
                  <a:pt x="11772" y="19783"/>
                </a:lnTo>
                <a:lnTo>
                  <a:pt x="11845" y="19539"/>
                </a:lnTo>
                <a:lnTo>
                  <a:pt x="11870" y="19270"/>
                </a:lnTo>
                <a:lnTo>
                  <a:pt x="11870" y="1295"/>
                </a:lnTo>
                <a:lnTo>
                  <a:pt x="11845" y="1026"/>
                </a:lnTo>
                <a:lnTo>
                  <a:pt x="11772" y="782"/>
                </a:lnTo>
                <a:lnTo>
                  <a:pt x="11650" y="562"/>
                </a:lnTo>
                <a:lnTo>
                  <a:pt x="11503" y="367"/>
                </a:lnTo>
                <a:lnTo>
                  <a:pt x="11308" y="220"/>
                </a:lnTo>
                <a:lnTo>
                  <a:pt x="11088" y="98"/>
                </a:lnTo>
                <a:lnTo>
                  <a:pt x="10844" y="25"/>
                </a:lnTo>
                <a:lnTo>
                  <a:pt x="10575" y="0"/>
                </a:lnTo>
                <a:close/>
              </a:path>
            </a:pathLst>
          </a:custGeom>
          <a:solidFill>
            <a:srgbClr val="19BBD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1" name="Google Shape;21;p2"/>
          <p:cNvGrpSpPr/>
          <p:nvPr/>
        </p:nvGrpSpPr>
        <p:grpSpPr>
          <a:xfrm>
            <a:off x="4380526" y="515192"/>
            <a:ext cx="382958" cy="607111"/>
            <a:chOff x="6718575" y="2318625"/>
            <a:chExt cx="256950" cy="407375"/>
          </a:xfrm>
        </p:grpSpPr>
        <p:sp>
          <p:nvSpPr>
            <p:cNvPr id="22" name="Google Shape;22;p2"/>
            <p:cNvSpPr/>
            <p:nvPr/>
          </p:nvSpPr>
          <p:spPr>
            <a:xfrm>
              <a:off x="6795900" y="2673600"/>
              <a:ext cx="102300" cy="22550"/>
            </a:xfrm>
            <a:custGeom>
              <a:avLst/>
              <a:gdLst/>
              <a:ahLst/>
              <a:cxnLst/>
              <a:rect l="l" t="t" r="r" b="b"/>
              <a:pathLst>
                <a:path w="4092" h="902" fill="none" extrusionOk="0">
                  <a:moveTo>
                    <a:pt x="4092" y="902"/>
                  </a:moveTo>
                  <a:lnTo>
                    <a:pt x="4092" y="1"/>
                  </a:lnTo>
                  <a:lnTo>
                    <a:pt x="0" y="1"/>
                  </a:lnTo>
                  <a:lnTo>
                    <a:pt x="0" y="902"/>
                  </a:lnTo>
                  <a:lnTo>
                    <a:pt x="4092" y="902"/>
                  </a:lnTo>
                  <a:close/>
                </a:path>
              </a:pathLst>
            </a:custGeom>
            <a:noFill/>
            <a:ln w="12175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23;p2"/>
            <p:cNvSpPr/>
            <p:nvPr/>
          </p:nvSpPr>
          <p:spPr>
            <a:xfrm>
              <a:off x="6795900" y="2650475"/>
              <a:ext cx="102300" cy="22550"/>
            </a:xfrm>
            <a:custGeom>
              <a:avLst/>
              <a:gdLst/>
              <a:ahLst/>
              <a:cxnLst/>
              <a:rect l="l" t="t" r="r" b="b"/>
              <a:pathLst>
                <a:path w="4092" h="902" fill="none" extrusionOk="0">
                  <a:moveTo>
                    <a:pt x="4092" y="901"/>
                  </a:moveTo>
                  <a:lnTo>
                    <a:pt x="4092" y="0"/>
                  </a:lnTo>
                  <a:lnTo>
                    <a:pt x="0" y="0"/>
                  </a:lnTo>
                  <a:lnTo>
                    <a:pt x="0" y="901"/>
                  </a:lnTo>
                  <a:lnTo>
                    <a:pt x="4092" y="901"/>
                  </a:lnTo>
                  <a:close/>
                </a:path>
              </a:pathLst>
            </a:custGeom>
            <a:noFill/>
            <a:ln w="12175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2"/>
            <p:cNvSpPr/>
            <p:nvPr/>
          </p:nvSpPr>
          <p:spPr>
            <a:xfrm>
              <a:off x="6795900" y="2696125"/>
              <a:ext cx="102300" cy="29875"/>
            </a:xfrm>
            <a:custGeom>
              <a:avLst/>
              <a:gdLst/>
              <a:ahLst/>
              <a:cxnLst/>
              <a:rect l="l" t="t" r="r" b="b"/>
              <a:pathLst>
                <a:path w="4092" h="1195" fill="none" extrusionOk="0">
                  <a:moveTo>
                    <a:pt x="0" y="1"/>
                  </a:moveTo>
                  <a:lnTo>
                    <a:pt x="0" y="171"/>
                  </a:lnTo>
                  <a:lnTo>
                    <a:pt x="0" y="171"/>
                  </a:lnTo>
                  <a:lnTo>
                    <a:pt x="24" y="318"/>
                  </a:lnTo>
                  <a:lnTo>
                    <a:pt x="98" y="464"/>
                  </a:lnTo>
                  <a:lnTo>
                    <a:pt x="195" y="585"/>
                  </a:lnTo>
                  <a:lnTo>
                    <a:pt x="341" y="659"/>
                  </a:lnTo>
                  <a:lnTo>
                    <a:pt x="1875" y="1170"/>
                  </a:lnTo>
                  <a:lnTo>
                    <a:pt x="1875" y="1170"/>
                  </a:lnTo>
                  <a:lnTo>
                    <a:pt x="2046" y="1194"/>
                  </a:lnTo>
                  <a:lnTo>
                    <a:pt x="2046" y="1194"/>
                  </a:lnTo>
                  <a:lnTo>
                    <a:pt x="2216" y="1170"/>
                  </a:lnTo>
                  <a:lnTo>
                    <a:pt x="3751" y="659"/>
                  </a:lnTo>
                  <a:lnTo>
                    <a:pt x="3751" y="659"/>
                  </a:lnTo>
                  <a:lnTo>
                    <a:pt x="3897" y="585"/>
                  </a:lnTo>
                  <a:lnTo>
                    <a:pt x="3994" y="464"/>
                  </a:lnTo>
                  <a:lnTo>
                    <a:pt x="4067" y="318"/>
                  </a:lnTo>
                  <a:lnTo>
                    <a:pt x="4092" y="171"/>
                  </a:lnTo>
                  <a:lnTo>
                    <a:pt x="4092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12175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25;p2"/>
            <p:cNvSpPr/>
            <p:nvPr/>
          </p:nvSpPr>
          <p:spPr>
            <a:xfrm>
              <a:off x="6784925" y="2459275"/>
              <a:ext cx="35350" cy="166875"/>
            </a:xfrm>
            <a:custGeom>
              <a:avLst/>
              <a:gdLst/>
              <a:ahLst/>
              <a:cxnLst/>
              <a:rect l="l" t="t" r="r" b="b"/>
              <a:pathLst>
                <a:path w="1414" h="6675" fill="none" extrusionOk="0">
                  <a:moveTo>
                    <a:pt x="1413" y="6674"/>
                  </a:moveTo>
                  <a:lnTo>
                    <a:pt x="1413" y="6674"/>
                  </a:lnTo>
                  <a:lnTo>
                    <a:pt x="585" y="2850"/>
                  </a:lnTo>
                  <a:lnTo>
                    <a:pt x="1" y="1"/>
                  </a:lnTo>
                </a:path>
              </a:pathLst>
            </a:custGeom>
            <a:noFill/>
            <a:ln w="12175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26;p2"/>
            <p:cNvSpPr/>
            <p:nvPr/>
          </p:nvSpPr>
          <p:spPr>
            <a:xfrm>
              <a:off x="6718575" y="2318625"/>
              <a:ext cx="256950" cy="307525"/>
            </a:xfrm>
            <a:custGeom>
              <a:avLst/>
              <a:gdLst/>
              <a:ahLst/>
              <a:cxnLst/>
              <a:rect l="l" t="t" r="r" b="b"/>
              <a:pathLst>
                <a:path w="10278" h="12301" fill="none" extrusionOk="0">
                  <a:moveTo>
                    <a:pt x="7185" y="12300"/>
                  </a:moveTo>
                  <a:lnTo>
                    <a:pt x="7185" y="12300"/>
                  </a:lnTo>
                  <a:lnTo>
                    <a:pt x="7307" y="11764"/>
                  </a:lnTo>
                  <a:lnTo>
                    <a:pt x="7477" y="11253"/>
                  </a:lnTo>
                  <a:lnTo>
                    <a:pt x="7672" y="10766"/>
                  </a:lnTo>
                  <a:lnTo>
                    <a:pt x="7891" y="10327"/>
                  </a:lnTo>
                  <a:lnTo>
                    <a:pt x="8135" y="9913"/>
                  </a:lnTo>
                  <a:lnTo>
                    <a:pt x="8378" y="9499"/>
                  </a:lnTo>
                  <a:lnTo>
                    <a:pt x="8914" y="8720"/>
                  </a:lnTo>
                  <a:lnTo>
                    <a:pt x="9182" y="8330"/>
                  </a:lnTo>
                  <a:lnTo>
                    <a:pt x="9425" y="7941"/>
                  </a:lnTo>
                  <a:lnTo>
                    <a:pt x="9645" y="7551"/>
                  </a:lnTo>
                  <a:lnTo>
                    <a:pt x="9864" y="7113"/>
                  </a:lnTo>
                  <a:lnTo>
                    <a:pt x="10034" y="6674"/>
                  </a:lnTo>
                  <a:lnTo>
                    <a:pt x="10156" y="6187"/>
                  </a:lnTo>
                  <a:lnTo>
                    <a:pt x="10229" y="5676"/>
                  </a:lnTo>
                  <a:lnTo>
                    <a:pt x="10253" y="5408"/>
                  </a:lnTo>
                  <a:lnTo>
                    <a:pt x="10278" y="5140"/>
                  </a:lnTo>
                  <a:lnTo>
                    <a:pt x="10278" y="5140"/>
                  </a:lnTo>
                  <a:lnTo>
                    <a:pt x="10229" y="4604"/>
                  </a:lnTo>
                  <a:lnTo>
                    <a:pt x="10156" y="4093"/>
                  </a:lnTo>
                  <a:lnTo>
                    <a:pt x="10034" y="3605"/>
                  </a:lnTo>
                  <a:lnTo>
                    <a:pt x="9864" y="3143"/>
                  </a:lnTo>
                  <a:lnTo>
                    <a:pt x="9645" y="2680"/>
                  </a:lnTo>
                  <a:lnTo>
                    <a:pt x="9401" y="2266"/>
                  </a:lnTo>
                  <a:lnTo>
                    <a:pt x="9084" y="1876"/>
                  </a:lnTo>
                  <a:lnTo>
                    <a:pt x="8768" y="1511"/>
                  </a:lnTo>
                  <a:lnTo>
                    <a:pt x="8402" y="1170"/>
                  </a:lnTo>
                  <a:lnTo>
                    <a:pt x="8013" y="878"/>
                  </a:lnTo>
                  <a:lnTo>
                    <a:pt x="7574" y="634"/>
                  </a:lnTo>
                  <a:lnTo>
                    <a:pt x="7136" y="415"/>
                  </a:lnTo>
                  <a:lnTo>
                    <a:pt x="6673" y="244"/>
                  </a:lnTo>
                  <a:lnTo>
                    <a:pt x="6162" y="98"/>
                  </a:lnTo>
                  <a:lnTo>
                    <a:pt x="5675" y="25"/>
                  </a:lnTo>
                  <a:lnTo>
                    <a:pt x="5139" y="1"/>
                  </a:lnTo>
                  <a:lnTo>
                    <a:pt x="5139" y="1"/>
                  </a:lnTo>
                  <a:lnTo>
                    <a:pt x="4603" y="25"/>
                  </a:lnTo>
                  <a:lnTo>
                    <a:pt x="4116" y="98"/>
                  </a:lnTo>
                  <a:lnTo>
                    <a:pt x="3605" y="244"/>
                  </a:lnTo>
                  <a:lnTo>
                    <a:pt x="3142" y="415"/>
                  </a:lnTo>
                  <a:lnTo>
                    <a:pt x="2703" y="634"/>
                  </a:lnTo>
                  <a:lnTo>
                    <a:pt x="2265" y="878"/>
                  </a:lnTo>
                  <a:lnTo>
                    <a:pt x="1875" y="1170"/>
                  </a:lnTo>
                  <a:lnTo>
                    <a:pt x="1510" y="1511"/>
                  </a:lnTo>
                  <a:lnTo>
                    <a:pt x="1193" y="1876"/>
                  </a:lnTo>
                  <a:lnTo>
                    <a:pt x="877" y="2266"/>
                  </a:lnTo>
                  <a:lnTo>
                    <a:pt x="633" y="2680"/>
                  </a:lnTo>
                  <a:lnTo>
                    <a:pt x="414" y="3143"/>
                  </a:lnTo>
                  <a:lnTo>
                    <a:pt x="244" y="3605"/>
                  </a:lnTo>
                  <a:lnTo>
                    <a:pt x="122" y="4093"/>
                  </a:lnTo>
                  <a:lnTo>
                    <a:pt x="49" y="4604"/>
                  </a:lnTo>
                  <a:lnTo>
                    <a:pt x="0" y="5140"/>
                  </a:lnTo>
                  <a:lnTo>
                    <a:pt x="0" y="5140"/>
                  </a:lnTo>
                  <a:lnTo>
                    <a:pt x="24" y="5408"/>
                  </a:lnTo>
                  <a:lnTo>
                    <a:pt x="49" y="5676"/>
                  </a:lnTo>
                  <a:lnTo>
                    <a:pt x="122" y="6187"/>
                  </a:lnTo>
                  <a:lnTo>
                    <a:pt x="244" y="6674"/>
                  </a:lnTo>
                  <a:lnTo>
                    <a:pt x="414" y="7113"/>
                  </a:lnTo>
                  <a:lnTo>
                    <a:pt x="633" y="7551"/>
                  </a:lnTo>
                  <a:lnTo>
                    <a:pt x="852" y="7941"/>
                  </a:lnTo>
                  <a:lnTo>
                    <a:pt x="1096" y="8330"/>
                  </a:lnTo>
                  <a:lnTo>
                    <a:pt x="1364" y="8720"/>
                  </a:lnTo>
                  <a:lnTo>
                    <a:pt x="1900" y="9499"/>
                  </a:lnTo>
                  <a:lnTo>
                    <a:pt x="2143" y="9913"/>
                  </a:lnTo>
                  <a:lnTo>
                    <a:pt x="2387" y="10327"/>
                  </a:lnTo>
                  <a:lnTo>
                    <a:pt x="2606" y="10766"/>
                  </a:lnTo>
                  <a:lnTo>
                    <a:pt x="2801" y="11253"/>
                  </a:lnTo>
                  <a:lnTo>
                    <a:pt x="2971" y="11764"/>
                  </a:lnTo>
                  <a:lnTo>
                    <a:pt x="3093" y="12300"/>
                  </a:lnTo>
                </a:path>
              </a:pathLst>
            </a:custGeom>
            <a:noFill/>
            <a:ln w="12175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2"/>
            <p:cNvSpPr/>
            <p:nvPr/>
          </p:nvSpPr>
          <p:spPr>
            <a:xfrm>
              <a:off x="6873825" y="2459275"/>
              <a:ext cx="35350" cy="166875"/>
            </a:xfrm>
            <a:custGeom>
              <a:avLst/>
              <a:gdLst/>
              <a:ahLst/>
              <a:cxnLst/>
              <a:rect l="l" t="t" r="r" b="b"/>
              <a:pathLst>
                <a:path w="1414" h="6675" fill="none" extrusionOk="0">
                  <a:moveTo>
                    <a:pt x="1413" y="1"/>
                  </a:moveTo>
                  <a:lnTo>
                    <a:pt x="1413" y="1"/>
                  </a:lnTo>
                  <a:lnTo>
                    <a:pt x="829" y="2850"/>
                  </a:lnTo>
                  <a:lnTo>
                    <a:pt x="1" y="6674"/>
                  </a:lnTo>
                </a:path>
              </a:pathLst>
            </a:custGeom>
            <a:noFill/>
            <a:ln w="12175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28;p2"/>
            <p:cNvSpPr/>
            <p:nvPr/>
          </p:nvSpPr>
          <p:spPr>
            <a:xfrm>
              <a:off x="6801975" y="2453200"/>
              <a:ext cx="90150" cy="19500"/>
            </a:xfrm>
            <a:custGeom>
              <a:avLst/>
              <a:gdLst/>
              <a:ahLst/>
              <a:cxnLst/>
              <a:rect l="l" t="t" r="r" b="b"/>
              <a:pathLst>
                <a:path w="3606" h="780" fill="none" extrusionOk="0">
                  <a:moveTo>
                    <a:pt x="1" y="73"/>
                  </a:moveTo>
                  <a:lnTo>
                    <a:pt x="829" y="780"/>
                  </a:lnTo>
                  <a:lnTo>
                    <a:pt x="1657" y="73"/>
                  </a:lnTo>
                  <a:lnTo>
                    <a:pt x="1657" y="73"/>
                  </a:lnTo>
                  <a:lnTo>
                    <a:pt x="1730" y="25"/>
                  </a:lnTo>
                  <a:lnTo>
                    <a:pt x="1803" y="0"/>
                  </a:lnTo>
                  <a:lnTo>
                    <a:pt x="1876" y="25"/>
                  </a:lnTo>
                  <a:lnTo>
                    <a:pt x="1949" y="73"/>
                  </a:lnTo>
                  <a:lnTo>
                    <a:pt x="2777" y="780"/>
                  </a:lnTo>
                  <a:lnTo>
                    <a:pt x="3605" y="73"/>
                  </a:lnTo>
                </a:path>
              </a:pathLst>
            </a:custGeom>
            <a:noFill/>
            <a:ln w="12175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29;p2"/>
            <p:cNvSpPr/>
            <p:nvPr/>
          </p:nvSpPr>
          <p:spPr>
            <a:xfrm>
              <a:off x="6795900" y="2628550"/>
              <a:ext cx="102300" cy="25"/>
            </a:xfrm>
            <a:custGeom>
              <a:avLst/>
              <a:gdLst/>
              <a:ahLst/>
              <a:cxnLst/>
              <a:rect l="l" t="t" r="r" b="b"/>
              <a:pathLst>
                <a:path w="4092" h="1" fill="none" extrusionOk="0">
                  <a:moveTo>
                    <a:pt x="0" y="1"/>
                  </a:moveTo>
                  <a:lnTo>
                    <a:pt x="4092" y="1"/>
                  </a:lnTo>
                </a:path>
              </a:pathLst>
            </a:custGeom>
            <a:noFill/>
            <a:ln w="12175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0" name="Google Shape;30;p2"/>
          <p:cNvGrpSpPr/>
          <p:nvPr/>
        </p:nvGrpSpPr>
        <p:grpSpPr>
          <a:xfrm>
            <a:off x="3199464" y="902959"/>
            <a:ext cx="395018" cy="403297"/>
            <a:chOff x="3951850" y="2985350"/>
            <a:chExt cx="407950" cy="416500"/>
          </a:xfrm>
        </p:grpSpPr>
        <p:sp>
          <p:nvSpPr>
            <p:cNvPr id="31" name="Google Shape;31;p2"/>
            <p:cNvSpPr/>
            <p:nvPr/>
          </p:nvSpPr>
          <p:spPr>
            <a:xfrm>
              <a:off x="3951850" y="2985350"/>
              <a:ext cx="314800" cy="314825"/>
            </a:xfrm>
            <a:custGeom>
              <a:avLst/>
              <a:gdLst/>
              <a:ahLst/>
              <a:cxnLst/>
              <a:rect l="l" t="t" r="r" b="b"/>
              <a:pathLst>
                <a:path w="12592" h="12593" fill="none" extrusionOk="0">
                  <a:moveTo>
                    <a:pt x="6284" y="1"/>
                  </a:moveTo>
                  <a:lnTo>
                    <a:pt x="6284" y="1"/>
                  </a:lnTo>
                  <a:lnTo>
                    <a:pt x="5967" y="25"/>
                  </a:lnTo>
                  <a:lnTo>
                    <a:pt x="5651" y="49"/>
                  </a:lnTo>
                  <a:lnTo>
                    <a:pt x="5334" y="74"/>
                  </a:lnTo>
                  <a:lnTo>
                    <a:pt x="5017" y="147"/>
                  </a:lnTo>
                  <a:lnTo>
                    <a:pt x="4725" y="220"/>
                  </a:lnTo>
                  <a:lnTo>
                    <a:pt x="4433" y="293"/>
                  </a:lnTo>
                  <a:lnTo>
                    <a:pt x="4141" y="390"/>
                  </a:lnTo>
                  <a:lnTo>
                    <a:pt x="3848" y="512"/>
                  </a:lnTo>
                  <a:lnTo>
                    <a:pt x="3556" y="634"/>
                  </a:lnTo>
                  <a:lnTo>
                    <a:pt x="3288" y="780"/>
                  </a:lnTo>
                  <a:lnTo>
                    <a:pt x="3020" y="926"/>
                  </a:lnTo>
                  <a:lnTo>
                    <a:pt x="2777" y="1072"/>
                  </a:lnTo>
                  <a:lnTo>
                    <a:pt x="2290" y="1437"/>
                  </a:lnTo>
                  <a:lnTo>
                    <a:pt x="1851" y="1852"/>
                  </a:lnTo>
                  <a:lnTo>
                    <a:pt x="1437" y="2290"/>
                  </a:lnTo>
                  <a:lnTo>
                    <a:pt x="1072" y="2777"/>
                  </a:lnTo>
                  <a:lnTo>
                    <a:pt x="901" y="3045"/>
                  </a:lnTo>
                  <a:lnTo>
                    <a:pt x="755" y="3313"/>
                  </a:lnTo>
                  <a:lnTo>
                    <a:pt x="609" y="3581"/>
                  </a:lnTo>
                  <a:lnTo>
                    <a:pt x="487" y="3849"/>
                  </a:lnTo>
                  <a:lnTo>
                    <a:pt x="390" y="4141"/>
                  </a:lnTo>
                  <a:lnTo>
                    <a:pt x="292" y="4433"/>
                  </a:lnTo>
                  <a:lnTo>
                    <a:pt x="195" y="4725"/>
                  </a:lnTo>
                  <a:lnTo>
                    <a:pt x="122" y="5042"/>
                  </a:lnTo>
                  <a:lnTo>
                    <a:pt x="73" y="5334"/>
                  </a:lnTo>
                  <a:lnTo>
                    <a:pt x="25" y="5651"/>
                  </a:lnTo>
                  <a:lnTo>
                    <a:pt x="0" y="5968"/>
                  </a:lnTo>
                  <a:lnTo>
                    <a:pt x="0" y="6308"/>
                  </a:lnTo>
                  <a:lnTo>
                    <a:pt x="0" y="6308"/>
                  </a:lnTo>
                  <a:lnTo>
                    <a:pt x="0" y="6625"/>
                  </a:lnTo>
                  <a:lnTo>
                    <a:pt x="25" y="6942"/>
                  </a:lnTo>
                  <a:lnTo>
                    <a:pt x="73" y="7258"/>
                  </a:lnTo>
                  <a:lnTo>
                    <a:pt x="122" y="7575"/>
                  </a:lnTo>
                  <a:lnTo>
                    <a:pt x="195" y="7867"/>
                  </a:lnTo>
                  <a:lnTo>
                    <a:pt x="292" y="8184"/>
                  </a:lnTo>
                  <a:lnTo>
                    <a:pt x="390" y="8476"/>
                  </a:lnTo>
                  <a:lnTo>
                    <a:pt x="487" y="8744"/>
                  </a:lnTo>
                  <a:lnTo>
                    <a:pt x="609" y="9036"/>
                  </a:lnTo>
                  <a:lnTo>
                    <a:pt x="755" y="9304"/>
                  </a:lnTo>
                  <a:lnTo>
                    <a:pt x="901" y="9572"/>
                  </a:lnTo>
                  <a:lnTo>
                    <a:pt x="1072" y="9816"/>
                  </a:lnTo>
                  <a:lnTo>
                    <a:pt x="1437" y="10303"/>
                  </a:lnTo>
                  <a:lnTo>
                    <a:pt x="1851" y="10741"/>
                  </a:lnTo>
                  <a:lnTo>
                    <a:pt x="2290" y="11155"/>
                  </a:lnTo>
                  <a:lnTo>
                    <a:pt x="2777" y="11520"/>
                  </a:lnTo>
                  <a:lnTo>
                    <a:pt x="3020" y="11691"/>
                  </a:lnTo>
                  <a:lnTo>
                    <a:pt x="3288" y="11837"/>
                  </a:lnTo>
                  <a:lnTo>
                    <a:pt x="3556" y="11983"/>
                  </a:lnTo>
                  <a:lnTo>
                    <a:pt x="3848" y="12105"/>
                  </a:lnTo>
                  <a:lnTo>
                    <a:pt x="4141" y="12202"/>
                  </a:lnTo>
                  <a:lnTo>
                    <a:pt x="4433" y="12300"/>
                  </a:lnTo>
                  <a:lnTo>
                    <a:pt x="4725" y="12397"/>
                  </a:lnTo>
                  <a:lnTo>
                    <a:pt x="5017" y="12470"/>
                  </a:lnTo>
                  <a:lnTo>
                    <a:pt x="5334" y="12519"/>
                  </a:lnTo>
                  <a:lnTo>
                    <a:pt x="5651" y="12568"/>
                  </a:lnTo>
                  <a:lnTo>
                    <a:pt x="5967" y="12592"/>
                  </a:lnTo>
                  <a:lnTo>
                    <a:pt x="6284" y="12592"/>
                  </a:lnTo>
                  <a:lnTo>
                    <a:pt x="6284" y="12592"/>
                  </a:lnTo>
                  <a:lnTo>
                    <a:pt x="6625" y="12592"/>
                  </a:lnTo>
                  <a:lnTo>
                    <a:pt x="6941" y="12568"/>
                  </a:lnTo>
                  <a:lnTo>
                    <a:pt x="7258" y="12519"/>
                  </a:lnTo>
                  <a:lnTo>
                    <a:pt x="7550" y="12470"/>
                  </a:lnTo>
                  <a:lnTo>
                    <a:pt x="7867" y="12397"/>
                  </a:lnTo>
                  <a:lnTo>
                    <a:pt x="8159" y="12300"/>
                  </a:lnTo>
                  <a:lnTo>
                    <a:pt x="8451" y="12202"/>
                  </a:lnTo>
                  <a:lnTo>
                    <a:pt x="8744" y="12105"/>
                  </a:lnTo>
                  <a:lnTo>
                    <a:pt x="9012" y="11983"/>
                  </a:lnTo>
                  <a:lnTo>
                    <a:pt x="9279" y="11837"/>
                  </a:lnTo>
                  <a:lnTo>
                    <a:pt x="9547" y="11691"/>
                  </a:lnTo>
                  <a:lnTo>
                    <a:pt x="9815" y="11520"/>
                  </a:lnTo>
                  <a:lnTo>
                    <a:pt x="10302" y="11155"/>
                  </a:lnTo>
                  <a:lnTo>
                    <a:pt x="10741" y="10741"/>
                  </a:lnTo>
                  <a:lnTo>
                    <a:pt x="11155" y="10303"/>
                  </a:lnTo>
                  <a:lnTo>
                    <a:pt x="11520" y="9816"/>
                  </a:lnTo>
                  <a:lnTo>
                    <a:pt x="11666" y="9572"/>
                  </a:lnTo>
                  <a:lnTo>
                    <a:pt x="11812" y="9304"/>
                  </a:lnTo>
                  <a:lnTo>
                    <a:pt x="11958" y="9036"/>
                  </a:lnTo>
                  <a:lnTo>
                    <a:pt x="12080" y="8744"/>
                  </a:lnTo>
                  <a:lnTo>
                    <a:pt x="12202" y="8476"/>
                  </a:lnTo>
                  <a:lnTo>
                    <a:pt x="12299" y="8184"/>
                  </a:lnTo>
                  <a:lnTo>
                    <a:pt x="12397" y="7867"/>
                  </a:lnTo>
                  <a:lnTo>
                    <a:pt x="12446" y="7575"/>
                  </a:lnTo>
                  <a:lnTo>
                    <a:pt x="12519" y="7258"/>
                  </a:lnTo>
                  <a:lnTo>
                    <a:pt x="12543" y="6942"/>
                  </a:lnTo>
                  <a:lnTo>
                    <a:pt x="12567" y="6625"/>
                  </a:lnTo>
                  <a:lnTo>
                    <a:pt x="12592" y="6308"/>
                  </a:lnTo>
                  <a:lnTo>
                    <a:pt x="12592" y="6308"/>
                  </a:lnTo>
                  <a:lnTo>
                    <a:pt x="12567" y="5968"/>
                  </a:lnTo>
                  <a:lnTo>
                    <a:pt x="12543" y="5651"/>
                  </a:lnTo>
                  <a:lnTo>
                    <a:pt x="12519" y="5334"/>
                  </a:lnTo>
                  <a:lnTo>
                    <a:pt x="12446" y="5042"/>
                  </a:lnTo>
                  <a:lnTo>
                    <a:pt x="12397" y="4725"/>
                  </a:lnTo>
                  <a:lnTo>
                    <a:pt x="12299" y="4433"/>
                  </a:lnTo>
                  <a:lnTo>
                    <a:pt x="12202" y="4141"/>
                  </a:lnTo>
                  <a:lnTo>
                    <a:pt x="12080" y="3849"/>
                  </a:lnTo>
                  <a:lnTo>
                    <a:pt x="11958" y="3581"/>
                  </a:lnTo>
                  <a:lnTo>
                    <a:pt x="11812" y="3313"/>
                  </a:lnTo>
                  <a:lnTo>
                    <a:pt x="11666" y="3045"/>
                  </a:lnTo>
                  <a:lnTo>
                    <a:pt x="11520" y="2777"/>
                  </a:lnTo>
                  <a:lnTo>
                    <a:pt x="11155" y="2290"/>
                  </a:lnTo>
                  <a:lnTo>
                    <a:pt x="10741" y="1852"/>
                  </a:lnTo>
                  <a:lnTo>
                    <a:pt x="10302" y="1437"/>
                  </a:lnTo>
                  <a:lnTo>
                    <a:pt x="9815" y="1072"/>
                  </a:lnTo>
                  <a:lnTo>
                    <a:pt x="9547" y="926"/>
                  </a:lnTo>
                  <a:lnTo>
                    <a:pt x="9279" y="780"/>
                  </a:lnTo>
                  <a:lnTo>
                    <a:pt x="9012" y="634"/>
                  </a:lnTo>
                  <a:lnTo>
                    <a:pt x="8744" y="512"/>
                  </a:lnTo>
                  <a:lnTo>
                    <a:pt x="8451" y="390"/>
                  </a:lnTo>
                  <a:lnTo>
                    <a:pt x="8159" y="293"/>
                  </a:lnTo>
                  <a:lnTo>
                    <a:pt x="7867" y="220"/>
                  </a:lnTo>
                  <a:lnTo>
                    <a:pt x="7550" y="147"/>
                  </a:lnTo>
                  <a:lnTo>
                    <a:pt x="7258" y="74"/>
                  </a:lnTo>
                  <a:lnTo>
                    <a:pt x="6941" y="49"/>
                  </a:lnTo>
                  <a:lnTo>
                    <a:pt x="6625" y="25"/>
                  </a:lnTo>
                  <a:lnTo>
                    <a:pt x="6284" y="1"/>
                  </a:lnTo>
                  <a:lnTo>
                    <a:pt x="6284" y="1"/>
                  </a:lnTo>
                  <a:close/>
                </a:path>
              </a:pathLst>
            </a:custGeom>
            <a:noFill/>
            <a:ln w="19050" cap="rnd" cmpd="sng">
              <a:solidFill>
                <a:srgbClr val="18476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32;p2"/>
            <p:cNvSpPr/>
            <p:nvPr/>
          </p:nvSpPr>
          <p:spPr>
            <a:xfrm>
              <a:off x="3988375" y="3021875"/>
              <a:ext cx="241750" cy="241750"/>
            </a:xfrm>
            <a:custGeom>
              <a:avLst/>
              <a:gdLst/>
              <a:ahLst/>
              <a:cxnLst/>
              <a:rect l="l" t="t" r="r" b="b"/>
              <a:pathLst>
                <a:path w="9670" h="9670" fill="none" extrusionOk="0">
                  <a:moveTo>
                    <a:pt x="4823" y="1"/>
                  </a:moveTo>
                  <a:lnTo>
                    <a:pt x="4823" y="1"/>
                  </a:lnTo>
                  <a:lnTo>
                    <a:pt x="4336" y="25"/>
                  </a:lnTo>
                  <a:lnTo>
                    <a:pt x="3849" y="98"/>
                  </a:lnTo>
                  <a:lnTo>
                    <a:pt x="3386" y="220"/>
                  </a:lnTo>
                  <a:lnTo>
                    <a:pt x="2947" y="391"/>
                  </a:lnTo>
                  <a:lnTo>
                    <a:pt x="2533" y="585"/>
                  </a:lnTo>
                  <a:lnTo>
                    <a:pt x="2144" y="829"/>
                  </a:lnTo>
                  <a:lnTo>
                    <a:pt x="1754" y="1121"/>
                  </a:lnTo>
                  <a:lnTo>
                    <a:pt x="1413" y="1438"/>
                  </a:lnTo>
                  <a:lnTo>
                    <a:pt x="1096" y="1779"/>
                  </a:lnTo>
                  <a:lnTo>
                    <a:pt x="829" y="2144"/>
                  </a:lnTo>
                  <a:lnTo>
                    <a:pt x="585" y="2534"/>
                  </a:lnTo>
                  <a:lnTo>
                    <a:pt x="390" y="2972"/>
                  </a:lnTo>
                  <a:lnTo>
                    <a:pt x="220" y="3411"/>
                  </a:lnTo>
                  <a:lnTo>
                    <a:pt x="98" y="3873"/>
                  </a:lnTo>
                  <a:lnTo>
                    <a:pt x="25" y="4336"/>
                  </a:lnTo>
                  <a:lnTo>
                    <a:pt x="1" y="4847"/>
                  </a:lnTo>
                  <a:lnTo>
                    <a:pt x="1" y="4847"/>
                  </a:lnTo>
                  <a:lnTo>
                    <a:pt x="25" y="5335"/>
                  </a:lnTo>
                  <a:lnTo>
                    <a:pt x="98" y="5822"/>
                  </a:lnTo>
                  <a:lnTo>
                    <a:pt x="220" y="6284"/>
                  </a:lnTo>
                  <a:lnTo>
                    <a:pt x="390" y="6723"/>
                  </a:lnTo>
                  <a:lnTo>
                    <a:pt x="585" y="7137"/>
                  </a:lnTo>
                  <a:lnTo>
                    <a:pt x="829" y="7527"/>
                  </a:lnTo>
                  <a:lnTo>
                    <a:pt x="1096" y="7916"/>
                  </a:lnTo>
                  <a:lnTo>
                    <a:pt x="1413" y="8257"/>
                  </a:lnTo>
                  <a:lnTo>
                    <a:pt x="1754" y="8574"/>
                  </a:lnTo>
                  <a:lnTo>
                    <a:pt x="2144" y="8842"/>
                  </a:lnTo>
                  <a:lnTo>
                    <a:pt x="2533" y="9085"/>
                  </a:lnTo>
                  <a:lnTo>
                    <a:pt x="2947" y="9280"/>
                  </a:lnTo>
                  <a:lnTo>
                    <a:pt x="3386" y="9451"/>
                  </a:lnTo>
                  <a:lnTo>
                    <a:pt x="3849" y="9572"/>
                  </a:lnTo>
                  <a:lnTo>
                    <a:pt x="4336" y="9645"/>
                  </a:lnTo>
                  <a:lnTo>
                    <a:pt x="4823" y="9670"/>
                  </a:lnTo>
                  <a:lnTo>
                    <a:pt x="4823" y="9670"/>
                  </a:lnTo>
                  <a:lnTo>
                    <a:pt x="5334" y="9645"/>
                  </a:lnTo>
                  <a:lnTo>
                    <a:pt x="5797" y="9572"/>
                  </a:lnTo>
                  <a:lnTo>
                    <a:pt x="6260" y="9451"/>
                  </a:lnTo>
                  <a:lnTo>
                    <a:pt x="6698" y="9280"/>
                  </a:lnTo>
                  <a:lnTo>
                    <a:pt x="7136" y="9085"/>
                  </a:lnTo>
                  <a:lnTo>
                    <a:pt x="7526" y="8842"/>
                  </a:lnTo>
                  <a:lnTo>
                    <a:pt x="7892" y="8574"/>
                  </a:lnTo>
                  <a:lnTo>
                    <a:pt x="8232" y="8257"/>
                  </a:lnTo>
                  <a:lnTo>
                    <a:pt x="8549" y="7916"/>
                  </a:lnTo>
                  <a:lnTo>
                    <a:pt x="8841" y="7527"/>
                  </a:lnTo>
                  <a:lnTo>
                    <a:pt x="9085" y="7137"/>
                  </a:lnTo>
                  <a:lnTo>
                    <a:pt x="9280" y="6723"/>
                  </a:lnTo>
                  <a:lnTo>
                    <a:pt x="9450" y="6284"/>
                  </a:lnTo>
                  <a:lnTo>
                    <a:pt x="9572" y="5822"/>
                  </a:lnTo>
                  <a:lnTo>
                    <a:pt x="9645" y="5335"/>
                  </a:lnTo>
                  <a:lnTo>
                    <a:pt x="9669" y="4847"/>
                  </a:lnTo>
                  <a:lnTo>
                    <a:pt x="9669" y="4847"/>
                  </a:lnTo>
                  <a:lnTo>
                    <a:pt x="9645" y="4336"/>
                  </a:lnTo>
                  <a:lnTo>
                    <a:pt x="9572" y="3873"/>
                  </a:lnTo>
                  <a:lnTo>
                    <a:pt x="9450" y="3411"/>
                  </a:lnTo>
                  <a:lnTo>
                    <a:pt x="9280" y="2972"/>
                  </a:lnTo>
                  <a:lnTo>
                    <a:pt x="9085" y="2534"/>
                  </a:lnTo>
                  <a:lnTo>
                    <a:pt x="8841" y="2144"/>
                  </a:lnTo>
                  <a:lnTo>
                    <a:pt x="8549" y="1779"/>
                  </a:lnTo>
                  <a:lnTo>
                    <a:pt x="8232" y="1438"/>
                  </a:lnTo>
                  <a:lnTo>
                    <a:pt x="7892" y="1121"/>
                  </a:lnTo>
                  <a:lnTo>
                    <a:pt x="7526" y="829"/>
                  </a:lnTo>
                  <a:lnTo>
                    <a:pt x="7136" y="585"/>
                  </a:lnTo>
                  <a:lnTo>
                    <a:pt x="6698" y="391"/>
                  </a:lnTo>
                  <a:lnTo>
                    <a:pt x="6260" y="220"/>
                  </a:lnTo>
                  <a:lnTo>
                    <a:pt x="5797" y="98"/>
                  </a:lnTo>
                  <a:lnTo>
                    <a:pt x="5334" y="25"/>
                  </a:lnTo>
                  <a:lnTo>
                    <a:pt x="4823" y="1"/>
                  </a:lnTo>
                  <a:lnTo>
                    <a:pt x="4823" y="1"/>
                  </a:lnTo>
                </a:path>
              </a:pathLst>
            </a:custGeom>
            <a:noFill/>
            <a:ln w="19050" cap="rnd" cmpd="sng">
              <a:solidFill>
                <a:srgbClr val="18476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33;p2"/>
            <p:cNvSpPr/>
            <p:nvPr/>
          </p:nvSpPr>
          <p:spPr>
            <a:xfrm>
              <a:off x="4024300" y="3058425"/>
              <a:ext cx="84650" cy="84650"/>
            </a:xfrm>
            <a:custGeom>
              <a:avLst/>
              <a:gdLst/>
              <a:ahLst/>
              <a:cxnLst/>
              <a:rect l="l" t="t" r="r" b="b"/>
              <a:pathLst>
                <a:path w="3386" h="3386" fill="none" extrusionOk="0">
                  <a:moveTo>
                    <a:pt x="0" y="3385"/>
                  </a:moveTo>
                  <a:lnTo>
                    <a:pt x="0" y="3385"/>
                  </a:lnTo>
                  <a:lnTo>
                    <a:pt x="25" y="3020"/>
                  </a:lnTo>
                  <a:lnTo>
                    <a:pt x="74" y="2704"/>
                  </a:lnTo>
                  <a:lnTo>
                    <a:pt x="147" y="2363"/>
                  </a:lnTo>
                  <a:lnTo>
                    <a:pt x="268" y="2070"/>
                  </a:lnTo>
                  <a:lnTo>
                    <a:pt x="414" y="1754"/>
                  </a:lnTo>
                  <a:lnTo>
                    <a:pt x="585" y="1486"/>
                  </a:lnTo>
                  <a:lnTo>
                    <a:pt x="780" y="1218"/>
                  </a:lnTo>
                  <a:lnTo>
                    <a:pt x="999" y="974"/>
                  </a:lnTo>
                  <a:lnTo>
                    <a:pt x="1243" y="755"/>
                  </a:lnTo>
                  <a:lnTo>
                    <a:pt x="1510" y="560"/>
                  </a:lnTo>
                  <a:lnTo>
                    <a:pt x="1778" y="390"/>
                  </a:lnTo>
                  <a:lnTo>
                    <a:pt x="2071" y="244"/>
                  </a:lnTo>
                  <a:lnTo>
                    <a:pt x="2387" y="146"/>
                  </a:lnTo>
                  <a:lnTo>
                    <a:pt x="2704" y="49"/>
                  </a:lnTo>
                  <a:lnTo>
                    <a:pt x="3045" y="0"/>
                  </a:lnTo>
                  <a:lnTo>
                    <a:pt x="3386" y="0"/>
                  </a:lnTo>
                </a:path>
              </a:pathLst>
            </a:custGeom>
            <a:noFill/>
            <a:ln w="19050" cap="rnd" cmpd="sng">
              <a:solidFill>
                <a:srgbClr val="18476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34;p2"/>
            <p:cNvSpPr/>
            <p:nvPr/>
          </p:nvSpPr>
          <p:spPr>
            <a:xfrm>
              <a:off x="4205750" y="3248375"/>
              <a:ext cx="154050" cy="153475"/>
            </a:xfrm>
            <a:custGeom>
              <a:avLst/>
              <a:gdLst/>
              <a:ahLst/>
              <a:cxnLst/>
              <a:rect l="l" t="t" r="r" b="b"/>
              <a:pathLst>
                <a:path w="6162" h="6139" fill="none" extrusionOk="0">
                  <a:moveTo>
                    <a:pt x="0" y="1024"/>
                  </a:moveTo>
                  <a:lnTo>
                    <a:pt x="4969" y="5992"/>
                  </a:lnTo>
                  <a:lnTo>
                    <a:pt x="4969" y="5992"/>
                  </a:lnTo>
                  <a:lnTo>
                    <a:pt x="5042" y="6041"/>
                  </a:lnTo>
                  <a:lnTo>
                    <a:pt x="5115" y="6090"/>
                  </a:lnTo>
                  <a:lnTo>
                    <a:pt x="5212" y="6114"/>
                  </a:lnTo>
                  <a:lnTo>
                    <a:pt x="5310" y="6138"/>
                  </a:lnTo>
                  <a:lnTo>
                    <a:pt x="5407" y="6114"/>
                  </a:lnTo>
                  <a:lnTo>
                    <a:pt x="5480" y="6090"/>
                  </a:lnTo>
                  <a:lnTo>
                    <a:pt x="5577" y="6041"/>
                  </a:lnTo>
                  <a:lnTo>
                    <a:pt x="5651" y="5992"/>
                  </a:lnTo>
                  <a:lnTo>
                    <a:pt x="6016" y="5627"/>
                  </a:lnTo>
                  <a:lnTo>
                    <a:pt x="6016" y="5627"/>
                  </a:lnTo>
                  <a:lnTo>
                    <a:pt x="6089" y="5554"/>
                  </a:lnTo>
                  <a:lnTo>
                    <a:pt x="6138" y="5456"/>
                  </a:lnTo>
                  <a:lnTo>
                    <a:pt x="6162" y="5359"/>
                  </a:lnTo>
                  <a:lnTo>
                    <a:pt x="6162" y="5286"/>
                  </a:lnTo>
                  <a:lnTo>
                    <a:pt x="6162" y="5188"/>
                  </a:lnTo>
                  <a:lnTo>
                    <a:pt x="6138" y="5091"/>
                  </a:lnTo>
                  <a:lnTo>
                    <a:pt x="6089" y="5018"/>
                  </a:lnTo>
                  <a:lnTo>
                    <a:pt x="6016" y="4921"/>
                  </a:lnTo>
                  <a:lnTo>
                    <a:pt x="1072" y="1"/>
                  </a:lnTo>
                </a:path>
              </a:pathLst>
            </a:custGeom>
            <a:noFill/>
            <a:ln w="19050" cap="rnd" cmpd="sng">
              <a:solidFill>
                <a:srgbClr val="18476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5" name="Google Shape;35;p2"/>
          <p:cNvSpPr/>
          <p:nvPr/>
        </p:nvSpPr>
        <p:spPr>
          <a:xfrm rot="10800000" flipH="1">
            <a:off x="5010533" y="4576648"/>
            <a:ext cx="1032900" cy="894600"/>
          </a:xfrm>
          <a:prstGeom prst="hexagon">
            <a:avLst>
              <a:gd name="adj" fmla="val 28678"/>
              <a:gd name="vf" fmla="val 115470"/>
            </a:avLst>
          </a:prstGeom>
          <a:noFill/>
          <a:ln w="19050" cap="flat" cmpd="sng">
            <a:solidFill>
              <a:srgbClr val="18476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" name="Google Shape;36;p2"/>
          <p:cNvSpPr/>
          <p:nvPr/>
        </p:nvSpPr>
        <p:spPr>
          <a:xfrm rot="10800000" flipH="1">
            <a:off x="5133679" y="4056450"/>
            <a:ext cx="540000" cy="467400"/>
          </a:xfrm>
          <a:prstGeom prst="hexagon">
            <a:avLst>
              <a:gd name="adj" fmla="val 28678"/>
              <a:gd name="vf" fmla="val 115470"/>
            </a:avLst>
          </a:prstGeom>
          <a:solidFill>
            <a:srgbClr val="3292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2"/>
          <p:cNvSpPr/>
          <p:nvPr/>
        </p:nvSpPr>
        <p:spPr>
          <a:xfrm rot="10800000" flipH="1">
            <a:off x="3101709" y="3629719"/>
            <a:ext cx="1032900" cy="894000"/>
          </a:xfrm>
          <a:prstGeom prst="hexagon">
            <a:avLst>
              <a:gd name="adj" fmla="val 28678"/>
              <a:gd name="vf" fmla="val 115470"/>
            </a:avLst>
          </a:prstGeom>
          <a:solidFill>
            <a:srgbClr val="18476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" name="Google Shape;38;p2"/>
          <p:cNvSpPr/>
          <p:nvPr/>
        </p:nvSpPr>
        <p:spPr>
          <a:xfrm rot="10800000" flipH="1">
            <a:off x="3530384" y="4576662"/>
            <a:ext cx="452100" cy="391200"/>
          </a:xfrm>
          <a:prstGeom prst="hexagon">
            <a:avLst>
              <a:gd name="adj" fmla="val 28678"/>
              <a:gd name="vf" fmla="val 115470"/>
            </a:avLst>
          </a:prstGeom>
          <a:noFill/>
          <a:ln w="19050" cap="flat" cmpd="sng">
            <a:solidFill>
              <a:srgbClr val="00E1C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" name="Google Shape;39;p2"/>
          <p:cNvSpPr/>
          <p:nvPr/>
        </p:nvSpPr>
        <p:spPr>
          <a:xfrm>
            <a:off x="5370705" y="4867761"/>
            <a:ext cx="312503" cy="312484"/>
          </a:xfrm>
          <a:custGeom>
            <a:avLst/>
            <a:gdLst/>
            <a:ahLst/>
            <a:cxnLst/>
            <a:rect l="l" t="t" r="r" b="b"/>
            <a:pathLst>
              <a:path w="17000" h="16999" extrusionOk="0">
                <a:moveTo>
                  <a:pt x="8769" y="5740"/>
                </a:moveTo>
                <a:lnTo>
                  <a:pt x="9037" y="5788"/>
                </a:lnTo>
                <a:lnTo>
                  <a:pt x="9282" y="5862"/>
                </a:lnTo>
                <a:lnTo>
                  <a:pt x="9550" y="5935"/>
                </a:lnTo>
                <a:lnTo>
                  <a:pt x="9794" y="6057"/>
                </a:lnTo>
                <a:lnTo>
                  <a:pt x="10014" y="6204"/>
                </a:lnTo>
                <a:lnTo>
                  <a:pt x="10234" y="6350"/>
                </a:lnTo>
                <a:lnTo>
                  <a:pt x="10454" y="6546"/>
                </a:lnTo>
                <a:lnTo>
                  <a:pt x="10649" y="6765"/>
                </a:lnTo>
                <a:lnTo>
                  <a:pt x="10796" y="6985"/>
                </a:lnTo>
                <a:lnTo>
                  <a:pt x="10942" y="7205"/>
                </a:lnTo>
                <a:lnTo>
                  <a:pt x="11064" y="7449"/>
                </a:lnTo>
                <a:lnTo>
                  <a:pt x="11138" y="7718"/>
                </a:lnTo>
                <a:lnTo>
                  <a:pt x="11211" y="7962"/>
                </a:lnTo>
                <a:lnTo>
                  <a:pt x="11260" y="8231"/>
                </a:lnTo>
                <a:lnTo>
                  <a:pt x="11260" y="8499"/>
                </a:lnTo>
                <a:lnTo>
                  <a:pt x="11260" y="8768"/>
                </a:lnTo>
                <a:lnTo>
                  <a:pt x="11211" y="9037"/>
                </a:lnTo>
                <a:lnTo>
                  <a:pt x="11138" y="9281"/>
                </a:lnTo>
                <a:lnTo>
                  <a:pt x="11064" y="9550"/>
                </a:lnTo>
                <a:lnTo>
                  <a:pt x="10942" y="9794"/>
                </a:lnTo>
                <a:lnTo>
                  <a:pt x="10796" y="10014"/>
                </a:lnTo>
                <a:lnTo>
                  <a:pt x="10649" y="10233"/>
                </a:lnTo>
                <a:lnTo>
                  <a:pt x="10454" y="10453"/>
                </a:lnTo>
                <a:lnTo>
                  <a:pt x="10234" y="10649"/>
                </a:lnTo>
                <a:lnTo>
                  <a:pt x="10014" y="10795"/>
                </a:lnTo>
                <a:lnTo>
                  <a:pt x="9794" y="10942"/>
                </a:lnTo>
                <a:lnTo>
                  <a:pt x="9550" y="11064"/>
                </a:lnTo>
                <a:lnTo>
                  <a:pt x="9282" y="11137"/>
                </a:lnTo>
                <a:lnTo>
                  <a:pt x="9037" y="11210"/>
                </a:lnTo>
                <a:lnTo>
                  <a:pt x="8769" y="11259"/>
                </a:lnTo>
                <a:lnTo>
                  <a:pt x="8231" y="11259"/>
                </a:lnTo>
                <a:lnTo>
                  <a:pt x="7963" y="11210"/>
                </a:lnTo>
                <a:lnTo>
                  <a:pt x="7719" y="11137"/>
                </a:lnTo>
                <a:lnTo>
                  <a:pt x="7450" y="11064"/>
                </a:lnTo>
                <a:lnTo>
                  <a:pt x="7206" y="10942"/>
                </a:lnTo>
                <a:lnTo>
                  <a:pt x="6986" y="10795"/>
                </a:lnTo>
                <a:lnTo>
                  <a:pt x="6766" y="10649"/>
                </a:lnTo>
                <a:lnTo>
                  <a:pt x="6546" y="10453"/>
                </a:lnTo>
                <a:lnTo>
                  <a:pt x="6351" y="10233"/>
                </a:lnTo>
                <a:lnTo>
                  <a:pt x="6204" y="10014"/>
                </a:lnTo>
                <a:lnTo>
                  <a:pt x="6058" y="9794"/>
                </a:lnTo>
                <a:lnTo>
                  <a:pt x="5936" y="9550"/>
                </a:lnTo>
                <a:lnTo>
                  <a:pt x="5862" y="9281"/>
                </a:lnTo>
                <a:lnTo>
                  <a:pt x="5789" y="9037"/>
                </a:lnTo>
                <a:lnTo>
                  <a:pt x="5740" y="8768"/>
                </a:lnTo>
                <a:lnTo>
                  <a:pt x="5740" y="8499"/>
                </a:lnTo>
                <a:lnTo>
                  <a:pt x="5740" y="8231"/>
                </a:lnTo>
                <a:lnTo>
                  <a:pt x="5789" y="7962"/>
                </a:lnTo>
                <a:lnTo>
                  <a:pt x="5862" y="7718"/>
                </a:lnTo>
                <a:lnTo>
                  <a:pt x="5936" y="7449"/>
                </a:lnTo>
                <a:lnTo>
                  <a:pt x="6058" y="7205"/>
                </a:lnTo>
                <a:lnTo>
                  <a:pt x="6204" y="6985"/>
                </a:lnTo>
                <a:lnTo>
                  <a:pt x="6351" y="6765"/>
                </a:lnTo>
                <a:lnTo>
                  <a:pt x="6546" y="6546"/>
                </a:lnTo>
                <a:lnTo>
                  <a:pt x="6766" y="6350"/>
                </a:lnTo>
                <a:lnTo>
                  <a:pt x="6986" y="6204"/>
                </a:lnTo>
                <a:lnTo>
                  <a:pt x="7206" y="6057"/>
                </a:lnTo>
                <a:lnTo>
                  <a:pt x="7450" y="5935"/>
                </a:lnTo>
                <a:lnTo>
                  <a:pt x="7719" y="5862"/>
                </a:lnTo>
                <a:lnTo>
                  <a:pt x="7963" y="5788"/>
                </a:lnTo>
                <a:lnTo>
                  <a:pt x="8231" y="5740"/>
                </a:lnTo>
                <a:close/>
                <a:moveTo>
                  <a:pt x="7914" y="0"/>
                </a:moveTo>
                <a:lnTo>
                  <a:pt x="7743" y="25"/>
                </a:lnTo>
                <a:lnTo>
                  <a:pt x="7596" y="73"/>
                </a:lnTo>
                <a:lnTo>
                  <a:pt x="7474" y="147"/>
                </a:lnTo>
                <a:lnTo>
                  <a:pt x="7328" y="244"/>
                </a:lnTo>
                <a:lnTo>
                  <a:pt x="7230" y="342"/>
                </a:lnTo>
                <a:lnTo>
                  <a:pt x="7132" y="489"/>
                </a:lnTo>
                <a:lnTo>
                  <a:pt x="7084" y="635"/>
                </a:lnTo>
                <a:lnTo>
                  <a:pt x="7035" y="782"/>
                </a:lnTo>
                <a:lnTo>
                  <a:pt x="6839" y="2540"/>
                </a:lnTo>
                <a:lnTo>
                  <a:pt x="6497" y="2638"/>
                </a:lnTo>
                <a:lnTo>
                  <a:pt x="6131" y="2784"/>
                </a:lnTo>
                <a:lnTo>
                  <a:pt x="5789" y="2931"/>
                </a:lnTo>
                <a:lnTo>
                  <a:pt x="5447" y="3102"/>
                </a:lnTo>
                <a:lnTo>
                  <a:pt x="4079" y="2027"/>
                </a:lnTo>
                <a:lnTo>
                  <a:pt x="3933" y="1930"/>
                </a:lnTo>
                <a:lnTo>
                  <a:pt x="3786" y="1881"/>
                </a:lnTo>
                <a:lnTo>
                  <a:pt x="3640" y="1832"/>
                </a:lnTo>
                <a:lnTo>
                  <a:pt x="3493" y="1832"/>
                </a:lnTo>
                <a:lnTo>
                  <a:pt x="3322" y="1856"/>
                </a:lnTo>
                <a:lnTo>
                  <a:pt x="3176" y="1905"/>
                </a:lnTo>
                <a:lnTo>
                  <a:pt x="3029" y="1978"/>
                </a:lnTo>
                <a:lnTo>
                  <a:pt x="2907" y="2076"/>
                </a:lnTo>
                <a:lnTo>
                  <a:pt x="2077" y="2907"/>
                </a:lnTo>
                <a:lnTo>
                  <a:pt x="1979" y="3029"/>
                </a:lnTo>
                <a:lnTo>
                  <a:pt x="1906" y="3175"/>
                </a:lnTo>
                <a:lnTo>
                  <a:pt x="1857" y="3322"/>
                </a:lnTo>
                <a:lnTo>
                  <a:pt x="1833" y="3493"/>
                </a:lnTo>
                <a:lnTo>
                  <a:pt x="1833" y="3639"/>
                </a:lnTo>
                <a:lnTo>
                  <a:pt x="1881" y="3786"/>
                </a:lnTo>
                <a:lnTo>
                  <a:pt x="1930" y="3932"/>
                </a:lnTo>
                <a:lnTo>
                  <a:pt x="2028" y="4079"/>
                </a:lnTo>
                <a:lnTo>
                  <a:pt x="3103" y="5447"/>
                </a:lnTo>
                <a:lnTo>
                  <a:pt x="2932" y="5788"/>
                </a:lnTo>
                <a:lnTo>
                  <a:pt x="2785" y="6130"/>
                </a:lnTo>
                <a:lnTo>
                  <a:pt x="2639" y="6497"/>
                </a:lnTo>
                <a:lnTo>
                  <a:pt x="2541" y="6839"/>
                </a:lnTo>
                <a:lnTo>
                  <a:pt x="782" y="7034"/>
                </a:lnTo>
                <a:lnTo>
                  <a:pt x="636" y="7083"/>
                </a:lnTo>
                <a:lnTo>
                  <a:pt x="489" y="7132"/>
                </a:lnTo>
                <a:lnTo>
                  <a:pt x="343" y="7229"/>
                </a:lnTo>
                <a:lnTo>
                  <a:pt x="245" y="7327"/>
                </a:lnTo>
                <a:lnTo>
                  <a:pt x="147" y="7474"/>
                </a:lnTo>
                <a:lnTo>
                  <a:pt x="74" y="7596"/>
                </a:lnTo>
                <a:lnTo>
                  <a:pt x="25" y="7742"/>
                </a:lnTo>
                <a:lnTo>
                  <a:pt x="1" y="7913"/>
                </a:lnTo>
                <a:lnTo>
                  <a:pt x="1" y="9086"/>
                </a:lnTo>
                <a:lnTo>
                  <a:pt x="25" y="9257"/>
                </a:lnTo>
                <a:lnTo>
                  <a:pt x="74" y="9403"/>
                </a:lnTo>
                <a:lnTo>
                  <a:pt x="147" y="9525"/>
                </a:lnTo>
                <a:lnTo>
                  <a:pt x="245" y="9672"/>
                </a:lnTo>
                <a:lnTo>
                  <a:pt x="343" y="9769"/>
                </a:lnTo>
                <a:lnTo>
                  <a:pt x="489" y="9867"/>
                </a:lnTo>
                <a:lnTo>
                  <a:pt x="636" y="9916"/>
                </a:lnTo>
                <a:lnTo>
                  <a:pt x="782" y="9965"/>
                </a:lnTo>
                <a:lnTo>
                  <a:pt x="2541" y="10160"/>
                </a:lnTo>
                <a:lnTo>
                  <a:pt x="2639" y="10502"/>
                </a:lnTo>
                <a:lnTo>
                  <a:pt x="2785" y="10868"/>
                </a:lnTo>
                <a:lnTo>
                  <a:pt x="2932" y="11210"/>
                </a:lnTo>
                <a:lnTo>
                  <a:pt x="3103" y="11552"/>
                </a:lnTo>
                <a:lnTo>
                  <a:pt x="2028" y="12920"/>
                </a:lnTo>
                <a:lnTo>
                  <a:pt x="1930" y="13067"/>
                </a:lnTo>
                <a:lnTo>
                  <a:pt x="1881" y="13213"/>
                </a:lnTo>
                <a:lnTo>
                  <a:pt x="1833" y="13360"/>
                </a:lnTo>
                <a:lnTo>
                  <a:pt x="1833" y="13506"/>
                </a:lnTo>
                <a:lnTo>
                  <a:pt x="1857" y="13677"/>
                </a:lnTo>
                <a:lnTo>
                  <a:pt x="1906" y="13824"/>
                </a:lnTo>
                <a:lnTo>
                  <a:pt x="1979" y="13970"/>
                </a:lnTo>
                <a:lnTo>
                  <a:pt x="2077" y="14092"/>
                </a:lnTo>
                <a:lnTo>
                  <a:pt x="2907" y="14923"/>
                </a:lnTo>
                <a:lnTo>
                  <a:pt x="3029" y="15020"/>
                </a:lnTo>
                <a:lnTo>
                  <a:pt x="3176" y="15094"/>
                </a:lnTo>
                <a:lnTo>
                  <a:pt x="3322" y="15142"/>
                </a:lnTo>
                <a:lnTo>
                  <a:pt x="3493" y="15167"/>
                </a:lnTo>
                <a:lnTo>
                  <a:pt x="3640" y="15167"/>
                </a:lnTo>
                <a:lnTo>
                  <a:pt x="3786" y="15118"/>
                </a:lnTo>
                <a:lnTo>
                  <a:pt x="3933" y="15069"/>
                </a:lnTo>
                <a:lnTo>
                  <a:pt x="4079" y="14996"/>
                </a:lnTo>
                <a:lnTo>
                  <a:pt x="5447" y="13897"/>
                </a:lnTo>
                <a:lnTo>
                  <a:pt x="5789" y="14068"/>
                </a:lnTo>
                <a:lnTo>
                  <a:pt x="6131" y="14214"/>
                </a:lnTo>
                <a:lnTo>
                  <a:pt x="6497" y="14361"/>
                </a:lnTo>
                <a:lnTo>
                  <a:pt x="6839" y="14459"/>
                </a:lnTo>
                <a:lnTo>
                  <a:pt x="7035" y="16217"/>
                </a:lnTo>
                <a:lnTo>
                  <a:pt x="7084" y="16364"/>
                </a:lnTo>
                <a:lnTo>
                  <a:pt x="7132" y="16510"/>
                </a:lnTo>
                <a:lnTo>
                  <a:pt x="7230" y="16657"/>
                </a:lnTo>
                <a:lnTo>
                  <a:pt x="7328" y="16754"/>
                </a:lnTo>
                <a:lnTo>
                  <a:pt x="7474" y="16852"/>
                </a:lnTo>
                <a:lnTo>
                  <a:pt x="7596" y="16925"/>
                </a:lnTo>
                <a:lnTo>
                  <a:pt x="7743" y="16974"/>
                </a:lnTo>
                <a:lnTo>
                  <a:pt x="7914" y="16999"/>
                </a:lnTo>
                <a:lnTo>
                  <a:pt x="9086" y="16999"/>
                </a:lnTo>
                <a:lnTo>
                  <a:pt x="9257" y="16974"/>
                </a:lnTo>
                <a:lnTo>
                  <a:pt x="9404" y="16925"/>
                </a:lnTo>
                <a:lnTo>
                  <a:pt x="9526" y="16852"/>
                </a:lnTo>
                <a:lnTo>
                  <a:pt x="9672" y="16754"/>
                </a:lnTo>
                <a:lnTo>
                  <a:pt x="9770" y="16657"/>
                </a:lnTo>
                <a:lnTo>
                  <a:pt x="9868" y="16510"/>
                </a:lnTo>
                <a:lnTo>
                  <a:pt x="9917" y="16364"/>
                </a:lnTo>
                <a:lnTo>
                  <a:pt x="9965" y="16217"/>
                </a:lnTo>
                <a:lnTo>
                  <a:pt x="10161" y="14459"/>
                </a:lnTo>
                <a:lnTo>
                  <a:pt x="10503" y="14361"/>
                </a:lnTo>
                <a:lnTo>
                  <a:pt x="10869" y="14214"/>
                </a:lnTo>
                <a:lnTo>
                  <a:pt x="11211" y="14068"/>
                </a:lnTo>
                <a:lnTo>
                  <a:pt x="11553" y="13897"/>
                </a:lnTo>
                <a:lnTo>
                  <a:pt x="12921" y="14996"/>
                </a:lnTo>
                <a:lnTo>
                  <a:pt x="13067" y="15069"/>
                </a:lnTo>
                <a:lnTo>
                  <a:pt x="13214" y="15118"/>
                </a:lnTo>
                <a:lnTo>
                  <a:pt x="13360" y="15167"/>
                </a:lnTo>
                <a:lnTo>
                  <a:pt x="13507" y="15167"/>
                </a:lnTo>
                <a:lnTo>
                  <a:pt x="13678" y="15142"/>
                </a:lnTo>
                <a:lnTo>
                  <a:pt x="13824" y="15094"/>
                </a:lnTo>
                <a:lnTo>
                  <a:pt x="13971" y="15020"/>
                </a:lnTo>
                <a:lnTo>
                  <a:pt x="14093" y="14923"/>
                </a:lnTo>
                <a:lnTo>
                  <a:pt x="14923" y="14092"/>
                </a:lnTo>
                <a:lnTo>
                  <a:pt x="15021" y="13970"/>
                </a:lnTo>
                <a:lnTo>
                  <a:pt x="15094" y="13824"/>
                </a:lnTo>
                <a:lnTo>
                  <a:pt x="15143" y="13677"/>
                </a:lnTo>
                <a:lnTo>
                  <a:pt x="15168" y="13506"/>
                </a:lnTo>
                <a:lnTo>
                  <a:pt x="15168" y="13360"/>
                </a:lnTo>
                <a:lnTo>
                  <a:pt x="15119" y="13213"/>
                </a:lnTo>
                <a:lnTo>
                  <a:pt x="15070" y="13067"/>
                </a:lnTo>
                <a:lnTo>
                  <a:pt x="14997" y="12920"/>
                </a:lnTo>
                <a:lnTo>
                  <a:pt x="13898" y="11552"/>
                </a:lnTo>
                <a:lnTo>
                  <a:pt x="14068" y="11210"/>
                </a:lnTo>
                <a:lnTo>
                  <a:pt x="14215" y="10868"/>
                </a:lnTo>
                <a:lnTo>
                  <a:pt x="14362" y="10502"/>
                </a:lnTo>
                <a:lnTo>
                  <a:pt x="14459" y="10160"/>
                </a:lnTo>
                <a:lnTo>
                  <a:pt x="16218" y="9965"/>
                </a:lnTo>
                <a:lnTo>
                  <a:pt x="16364" y="9916"/>
                </a:lnTo>
                <a:lnTo>
                  <a:pt x="16511" y="9867"/>
                </a:lnTo>
                <a:lnTo>
                  <a:pt x="16657" y="9769"/>
                </a:lnTo>
                <a:lnTo>
                  <a:pt x="16755" y="9672"/>
                </a:lnTo>
                <a:lnTo>
                  <a:pt x="16853" y="9525"/>
                </a:lnTo>
                <a:lnTo>
                  <a:pt x="16926" y="9403"/>
                </a:lnTo>
                <a:lnTo>
                  <a:pt x="16975" y="9257"/>
                </a:lnTo>
                <a:lnTo>
                  <a:pt x="16999" y="9086"/>
                </a:lnTo>
                <a:lnTo>
                  <a:pt x="16999" y="7913"/>
                </a:lnTo>
                <a:lnTo>
                  <a:pt x="16975" y="7742"/>
                </a:lnTo>
                <a:lnTo>
                  <a:pt x="16926" y="7596"/>
                </a:lnTo>
                <a:lnTo>
                  <a:pt x="16853" y="7474"/>
                </a:lnTo>
                <a:lnTo>
                  <a:pt x="16755" y="7327"/>
                </a:lnTo>
                <a:lnTo>
                  <a:pt x="16657" y="7229"/>
                </a:lnTo>
                <a:lnTo>
                  <a:pt x="16511" y="7132"/>
                </a:lnTo>
                <a:lnTo>
                  <a:pt x="16364" y="7083"/>
                </a:lnTo>
                <a:lnTo>
                  <a:pt x="16218" y="7034"/>
                </a:lnTo>
                <a:lnTo>
                  <a:pt x="14459" y="6839"/>
                </a:lnTo>
                <a:lnTo>
                  <a:pt x="14362" y="6497"/>
                </a:lnTo>
                <a:lnTo>
                  <a:pt x="14215" y="6130"/>
                </a:lnTo>
                <a:lnTo>
                  <a:pt x="14068" y="5788"/>
                </a:lnTo>
                <a:lnTo>
                  <a:pt x="13898" y="5447"/>
                </a:lnTo>
                <a:lnTo>
                  <a:pt x="14997" y="4079"/>
                </a:lnTo>
                <a:lnTo>
                  <a:pt x="15070" y="3932"/>
                </a:lnTo>
                <a:lnTo>
                  <a:pt x="15119" y="3786"/>
                </a:lnTo>
                <a:lnTo>
                  <a:pt x="15168" y="3639"/>
                </a:lnTo>
                <a:lnTo>
                  <a:pt x="15168" y="3493"/>
                </a:lnTo>
                <a:lnTo>
                  <a:pt x="15143" y="3322"/>
                </a:lnTo>
                <a:lnTo>
                  <a:pt x="15094" y="3175"/>
                </a:lnTo>
                <a:lnTo>
                  <a:pt x="15021" y="3029"/>
                </a:lnTo>
                <a:lnTo>
                  <a:pt x="14923" y="2907"/>
                </a:lnTo>
                <a:lnTo>
                  <a:pt x="14093" y="2076"/>
                </a:lnTo>
                <a:lnTo>
                  <a:pt x="13971" y="1978"/>
                </a:lnTo>
                <a:lnTo>
                  <a:pt x="13824" y="1905"/>
                </a:lnTo>
                <a:lnTo>
                  <a:pt x="13678" y="1856"/>
                </a:lnTo>
                <a:lnTo>
                  <a:pt x="13507" y="1832"/>
                </a:lnTo>
                <a:lnTo>
                  <a:pt x="13360" y="1832"/>
                </a:lnTo>
                <a:lnTo>
                  <a:pt x="13214" y="1881"/>
                </a:lnTo>
                <a:lnTo>
                  <a:pt x="13067" y="1930"/>
                </a:lnTo>
                <a:lnTo>
                  <a:pt x="12921" y="2027"/>
                </a:lnTo>
                <a:lnTo>
                  <a:pt x="11553" y="3102"/>
                </a:lnTo>
                <a:lnTo>
                  <a:pt x="11211" y="2931"/>
                </a:lnTo>
                <a:lnTo>
                  <a:pt x="10869" y="2784"/>
                </a:lnTo>
                <a:lnTo>
                  <a:pt x="10503" y="2638"/>
                </a:lnTo>
                <a:lnTo>
                  <a:pt x="10161" y="2540"/>
                </a:lnTo>
                <a:lnTo>
                  <a:pt x="9965" y="782"/>
                </a:lnTo>
                <a:lnTo>
                  <a:pt x="9917" y="635"/>
                </a:lnTo>
                <a:lnTo>
                  <a:pt x="9868" y="489"/>
                </a:lnTo>
                <a:lnTo>
                  <a:pt x="9770" y="342"/>
                </a:lnTo>
                <a:lnTo>
                  <a:pt x="9672" y="244"/>
                </a:lnTo>
                <a:lnTo>
                  <a:pt x="9526" y="147"/>
                </a:lnTo>
                <a:lnTo>
                  <a:pt x="9404" y="73"/>
                </a:lnTo>
                <a:lnTo>
                  <a:pt x="9257" y="25"/>
                </a:lnTo>
                <a:lnTo>
                  <a:pt x="9086" y="0"/>
                </a:lnTo>
                <a:close/>
              </a:path>
            </a:pathLst>
          </a:custGeom>
          <a:solidFill>
            <a:srgbClr val="18476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0" name="Google Shape;40;p2"/>
          <p:cNvGrpSpPr/>
          <p:nvPr/>
        </p:nvGrpSpPr>
        <p:grpSpPr>
          <a:xfrm>
            <a:off x="5772009" y="4056440"/>
            <a:ext cx="573943" cy="550550"/>
            <a:chOff x="5241175" y="4959100"/>
            <a:chExt cx="539775" cy="517775"/>
          </a:xfrm>
        </p:grpSpPr>
        <p:sp>
          <p:nvSpPr>
            <p:cNvPr id="41" name="Google Shape;41;p2"/>
            <p:cNvSpPr/>
            <p:nvPr/>
          </p:nvSpPr>
          <p:spPr>
            <a:xfrm>
              <a:off x="5575150" y="4959100"/>
              <a:ext cx="161225" cy="178300"/>
            </a:xfrm>
            <a:custGeom>
              <a:avLst/>
              <a:gdLst/>
              <a:ahLst/>
              <a:cxnLst/>
              <a:rect l="l" t="t" r="r" b="b"/>
              <a:pathLst>
                <a:path w="6449" h="7132" extrusionOk="0">
                  <a:moveTo>
                    <a:pt x="4641" y="0"/>
                  </a:moveTo>
                  <a:lnTo>
                    <a:pt x="4470" y="25"/>
                  </a:lnTo>
                  <a:lnTo>
                    <a:pt x="4299" y="49"/>
                  </a:lnTo>
                  <a:lnTo>
                    <a:pt x="4128" y="98"/>
                  </a:lnTo>
                  <a:lnTo>
                    <a:pt x="3957" y="147"/>
                  </a:lnTo>
                  <a:lnTo>
                    <a:pt x="3786" y="220"/>
                  </a:lnTo>
                  <a:lnTo>
                    <a:pt x="3640" y="318"/>
                  </a:lnTo>
                  <a:lnTo>
                    <a:pt x="3517" y="415"/>
                  </a:lnTo>
                  <a:lnTo>
                    <a:pt x="3395" y="538"/>
                  </a:lnTo>
                  <a:lnTo>
                    <a:pt x="3273" y="660"/>
                  </a:lnTo>
                  <a:lnTo>
                    <a:pt x="3175" y="806"/>
                  </a:lnTo>
                  <a:lnTo>
                    <a:pt x="3078" y="953"/>
                  </a:lnTo>
                  <a:lnTo>
                    <a:pt x="3005" y="1099"/>
                  </a:lnTo>
                  <a:lnTo>
                    <a:pt x="2931" y="1270"/>
                  </a:lnTo>
                  <a:lnTo>
                    <a:pt x="2907" y="1441"/>
                  </a:lnTo>
                  <a:lnTo>
                    <a:pt x="2882" y="1612"/>
                  </a:lnTo>
                  <a:lnTo>
                    <a:pt x="2858" y="1808"/>
                  </a:lnTo>
                  <a:lnTo>
                    <a:pt x="2882" y="2076"/>
                  </a:lnTo>
                  <a:lnTo>
                    <a:pt x="2956" y="2345"/>
                  </a:lnTo>
                  <a:lnTo>
                    <a:pt x="3053" y="2589"/>
                  </a:lnTo>
                  <a:lnTo>
                    <a:pt x="3175" y="2809"/>
                  </a:lnTo>
                  <a:lnTo>
                    <a:pt x="0" y="6546"/>
                  </a:lnTo>
                  <a:lnTo>
                    <a:pt x="367" y="6814"/>
                  </a:lnTo>
                  <a:lnTo>
                    <a:pt x="709" y="7132"/>
                  </a:lnTo>
                  <a:lnTo>
                    <a:pt x="3884" y="3419"/>
                  </a:lnTo>
                  <a:lnTo>
                    <a:pt x="4055" y="3493"/>
                  </a:lnTo>
                  <a:lnTo>
                    <a:pt x="4250" y="3542"/>
                  </a:lnTo>
                  <a:lnTo>
                    <a:pt x="4445" y="3566"/>
                  </a:lnTo>
                  <a:lnTo>
                    <a:pt x="4641" y="3590"/>
                  </a:lnTo>
                  <a:lnTo>
                    <a:pt x="4836" y="3566"/>
                  </a:lnTo>
                  <a:lnTo>
                    <a:pt x="5007" y="3542"/>
                  </a:lnTo>
                  <a:lnTo>
                    <a:pt x="5178" y="3517"/>
                  </a:lnTo>
                  <a:lnTo>
                    <a:pt x="5349" y="3444"/>
                  </a:lnTo>
                  <a:lnTo>
                    <a:pt x="5496" y="3371"/>
                  </a:lnTo>
                  <a:lnTo>
                    <a:pt x="5642" y="3273"/>
                  </a:lnTo>
                  <a:lnTo>
                    <a:pt x="5789" y="3175"/>
                  </a:lnTo>
                  <a:lnTo>
                    <a:pt x="5911" y="3053"/>
                  </a:lnTo>
                  <a:lnTo>
                    <a:pt x="6033" y="2931"/>
                  </a:lnTo>
                  <a:lnTo>
                    <a:pt x="6131" y="2809"/>
                  </a:lnTo>
                  <a:lnTo>
                    <a:pt x="6228" y="2638"/>
                  </a:lnTo>
                  <a:lnTo>
                    <a:pt x="6302" y="2491"/>
                  </a:lnTo>
                  <a:lnTo>
                    <a:pt x="6350" y="2320"/>
                  </a:lnTo>
                  <a:lnTo>
                    <a:pt x="6399" y="2149"/>
                  </a:lnTo>
                  <a:lnTo>
                    <a:pt x="6424" y="1979"/>
                  </a:lnTo>
                  <a:lnTo>
                    <a:pt x="6448" y="1808"/>
                  </a:lnTo>
                  <a:lnTo>
                    <a:pt x="6424" y="1612"/>
                  </a:lnTo>
                  <a:lnTo>
                    <a:pt x="6399" y="1441"/>
                  </a:lnTo>
                  <a:lnTo>
                    <a:pt x="6350" y="1270"/>
                  </a:lnTo>
                  <a:lnTo>
                    <a:pt x="6302" y="1099"/>
                  </a:lnTo>
                  <a:lnTo>
                    <a:pt x="6228" y="953"/>
                  </a:lnTo>
                  <a:lnTo>
                    <a:pt x="6131" y="806"/>
                  </a:lnTo>
                  <a:lnTo>
                    <a:pt x="6033" y="660"/>
                  </a:lnTo>
                  <a:lnTo>
                    <a:pt x="5911" y="538"/>
                  </a:lnTo>
                  <a:lnTo>
                    <a:pt x="5789" y="415"/>
                  </a:lnTo>
                  <a:lnTo>
                    <a:pt x="5642" y="318"/>
                  </a:lnTo>
                  <a:lnTo>
                    <a:pt x="5496" y="220"/>
                  </a:lnTo>
                  <a:lnTo>
                    <a:pt x="5349" y="147"/>
                  </a:lnTo>
                  <a:lnTo>
                    <a:pt x="5178" y="98"/>
                  </a:lnTo>
                  <a:lnTo>
                    <a:pt x="5007" y="49"/>
                  </a:lnTo>
                  <a:lnTo>
                    <a:pt x="4836" y="25"/>
                  </a:lnTo>
                  <a:lnTo>
                    <a:pt x="4641" y="0"/>
                  </a:lnTo>
                  <a:close/>
                </a:path>
              </a:pathLst>
            </a:custGeom>
            <a:solidFill>
              <a:srgbClr val="18476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42;p2"/>
            <p:cNvSpPr/>
            <p:nvPr/>
          </p:nvSpPr>
          <p:spPr>
            <a:xfrm>
              <a:off x="5330925" y="4985350"/>
              <a:ext cx="128250" cy="148400"/>
            </a:xfrm>
            <a:custGeom>
              <a:avLst/>
              <a:gdLst/>
              <a:ahLst/>
              <a:cxnLst/>
              <a:rect l="l" t="t" r="r" b="b"/>
              <a:pathLst>
                <a:path w="5130" h="5936" extrusionOk="0">
                  <a:moveTo>
                    <a:pt x="1563" y="0"/>
                  </a:moveTo>
                  <a:lnTo>
                    <a:pt x="1392" y="25"/>
                  </a:lnTo>
                  <a:lnTo>
                    <a:pt x="1221" y="74"/>
                  </a:lnTo>
                  <a:lnTo>
                    <a:pt x="1075" y="147"/>
                  </a:lnTo>
                  <a:lnTo>
                    <a:pt x="904" y="220"/>
                  </a:lnTo>
                  <a:lnTo>
                    <a:pt x="757" y="318"/>
                  </a:lnTo>
                  <a:lnTo>
                    <a:pt x="635" y="416"/>
                  </a:lnTo>
                  <a:lnTo>
                    <a:pt x="513" y="538"/>
                  </a:lnTo>
                  <a:lnTo>
                    <a:pt x="391" y="660"/>
                  </a:lnTo>
                  <a:lnTo>
                    <a:pt x="293" y="806"/>
                  </a:lnTo>
                  <a:lnTo>
                    <a:pt x="196" y="953"/>
                  </a:lnTo>
                  <a:lnTo>
                    <a:pt x="122" y="1099"/>
                  </a:lnTo>
                  <a:lnTo>
                    <a:pt x="74" y="1270"/>
                  </a:lnTo>
                  <a:lnTo>
                    <a:pt x="25" y="1466"/>
                  </a:lnTo>
                  <a:lnTo>
                    <a:pt x="0" y="1637"/>
                  </a:lnTo>
                  <a:lnTo>
                    <a:pt x="0" y="1808"/>
                  </a:lnTo>
                  <a:lnTo>
                    <a:pt x="0" y="2003"/>
                  </a:lnTo>
                  <a:lnTo>
                    <a:pt x="25" y="2174"/>
                  </a:lnTo>
                  <a:lnTo>
                    <a:pt x="74" y="2345"/>
                  </a:lnTo>
                  <a:lnTo>
                    <a:pt x="147" y="2492"/>
                  </a:lnTo>
                  <a:lnTo>
                    <a:pt x="220" y="2663"/>
                  </a:lnTo>
                  <a:lnTo>
                    <a:pt x="318" y="2785"/>
                  </a:lnTo>
                  <a:lnTo>
                    <a:pt x="415" y="2931"/>
                  </a:lnTo>
                  <a:lnTo>
                    <a:pt x="538" y="3053"/>
                  </a:lnTo>
                  <a:lnTo>
                    <a:pt x="660" y="3175"/>
                  </a:lnTo>
                  <a:lnTo>
                    <a:pt x="806" y="3273"/>
                  </a:lnTo>
                  <a:lnTo>
                    <a:pt x="953" y="3371"/>
                  </a:lnTo>
                  <a:lnTo>
                    <a:pt x="1099" y="3444"/>
                  </a:lnTo>
                  <a:lnTo>
                    <a:pt x="1270" y="3493"/>
                  </a:lnTo>
                  <a:lnTo>
                    <a:pt x="1466" y="3542"/>
                  </a:lnTo>
                  <a:lnTo>
                    <a:pt x="1710" y="3566"/>
                  </a:lnTo>
                  <a:lnTo>
                    <a:pt x="1979" y="3566"/>
                  </a:lnTo>
                  <a:lnTo>
                    <a:pt x="2223" y="3517"/>
                  </a:lnTo>
                  <a:lnTo>
                    <a:pt x="2467" y="3444"/>
                  </a:lnTo>
                  <a:lnTo>
                    <a:pt x="4396" y="5935"/>
                  </a:lnTo>
                  <a:lnTo>
                    <a:pt x="4738" y="5642"/>
                  </a:lnTo>
                  <a:lnTo>
                    <a:pt x="5129" y="5374"/>
                  </a:lnTo>
                  <a:lnTo>
                    <a:pt x="3200" y="2858"/>
                  </a:lnTo>
                  <a:lnTo>
                    <a:pt x="3322" y="2687"/>
                  </a:lnTo>
                  <a:lnTo>
                    <a:pt x="3419" y="2516"/>
                  </a:lnTo>
                  <a:lnTo>
                    <a:pt x="3493" y="2321"/>
                  </a:lnTo>
                  <a:lnTo>
                    <a:pt x="3542" y="2101"/>
                  </a:lnTo>
                  <a:lnTo>
                    <a:pt x="3566" y="1930"/>
                  </a:lnTo>
                  <a:lnTo>
                    <a:pt x="3566" y="1734"/>
                  </a:lnTo>
                  <a:lnTo>
                    <a:pt x="3566" y="1564"/>
                  </a:lnTo>
                  <a:lnTo>
                    <a:pt x="3517" y="1393"/>
                  </a:lnTo>
                  <a:lnTo>
                    <a:pt x="3468" y="1222"/>
                  </a:lnTo>
                  <a:lnTo>
                    <a:pt x="3419" y="1075"/>
                  </a:lnTo>
                  <a:lnTo>
                    <a:pt x="3346" y="904"/>
                  </a:lnTo>
                  <a:lnTo>
                    <a:pt x="3249" y="758"/>
                  </a:lnTo>
                  <a:lnTo>
                    <a:pt x="3151" y="635"/>
                  </a:lnTo>
                  <a:lnTo>
                    <a:pt x="3029" y="513"/>
                  </a:lnTo>
                  <a:lnTo>
                    <a:pt x="2907" y="391"/>
                  </a:lnTo>
                  <a:lnTo>
                    <a:pt x="2760" y="294"/>
                  </a:lnTo>
                  <a:lnTo>
                    <a:pt x="2614" y="196"/>
                  </a:lnTo>
                  <a:lnTo>
                    <a:pt x="2443" y="123"/>
                  </a:lnTo>
                  <a:lnTo>
                    <a:pt x="2272" y="74"/>
                  </a:lnTo>
                  <a:lnTo>
                    <a:pt x="2101" y="25"/>
                  </a:lnTo>
                  <a:lnTo>
                    <a:pt x="1930" y="0"/>
                  </a:lnTo>
                  <a:close/>
                </a:path>
              </a:pathLst>
            </a:custGeom>
            <a:solidFill>
              <a:srgbClr val="18476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43;p2"/>
            <p:cNvSpPr/>
            <p:nvPr/>
          </p:nvSpPr>
          <p:spPr>
            <a:xfrm>
              <a:off x="5241175" y="5241175"/>
              <a:ext cx="180125" cy="109325"/>
            </a:xfrm>
            <a:custGeom>
              <a:avLst/>
              <a:gdLst/>
              <a:ahLst/>
              <a:cxnLst/>
              <a:rect l="l" t="t" r="r" b="b"/>
              <a:pathLst>
                <a:path w="7205" h="4373" extrusionOk="0">
                  <a:moveTo>
                    <a:pt x="6839" y="1"/>
                  </a:moveTo>
                  <a:lnTo>
                    <a:pt x="3224" y="1491"/>
                  </a:lnTo>
                  <a:lnTo>
                    <a:pt x="3102" y="1368"/>
                  </a:lnTo>
                  <a:lnTo>
                    <a:pt x="2980" y="1246"/>
                  </a:lnTo>
                  <a:lnTo>
                    <a:pt x="2858" y="1124"/>
                  </a:lnTo>
                  <a:lnTo>
                    <a:pt x="2687" y="1026"/>
                  </a:lnTo>
                  <a:lnTo>
                    <a:pt x="2540" y="953"/>
                  </a:lnTo>
                  <a:lnTo>
                    <a:pt x="2369" y="880"/>
                  </a:lnTo>
                  <a:lnTo>
                    <a:pt x="2198" y="831"/>
                  </a:lnTo>
                  <a:lnTo>
                    <a:pt x="2027" y="807"/>
                  </a:lnTo>
                  <a:lnTo>
                    <a:pt x="1856" y="782"/>
                  </a:lnTo>
                  <a:lnTo>
                    <a:pt x="1685" y="807"/>
                  </a:lnTo>
                  <a:lnTo>
                    <a:pt x="1514" y="807"/>
                  </a:lnTo>
                  <a:lnTo>
                    <a:pt x="1343" y="856"/>
                  </a:lnTo>
                  <a:lnTo>
                    <a:pt x="1172" y="904"/>
                  </a:lnTo>
                  <a:lnTo>
                    <a:pt x="1026" y="978"/>
                  </a:lnTo>
                  <a:lnTo>
                    <a:pt x="879" y="1051"/>
                  </a:lnTo>
                  <a:lnTo>
                    <a:pt x="733" y="1149"/>
                  </a:lnTo>
                  <a:lnTo>
                    <a:pt x="586" y="1271"/>
                  </a:lnTo>
                  <a:lnTo>
                    <a:pt x="464" y="1393"/>
                  </a:lnTo>
                  <a:lnTo>
                    <a:pt x="342" y="1515"/>
                  </a:lnTo>
                  <a:lnTo>
                    <a:pt x="244" y="1686"/>
                  </a:lnTo>
                  <a:lnTo>
                    <a:pt x="171" y="1832"/>
                  </a:lnTo>
                  <a:lnTo>
                    <a:pt x="98" y="2003"/>
                  </a:lnTo>
                  <a:lnTo>
                    <a:pt x="49" y="2174"/>
                  </a:lnTo>
                  <a:lnTo>
                    <a:pt x="25" y="2345"/>
                  </a:lnTo>
                  <a:lnTo>
                    <a:pt x="0" y="2516"/>
                  </a:lnTo>
                  <a:lnTo>
                    <a:pt x="0" y="2687"/>
                  </a:lnTo>
                  <a:lnTo>
                    <a:pt x="25" y="2858"/>
                  </a:lnTo>
                  <a:lnTo>
                    <a:pt x="73" y="3029"/>
                  </a:lnTo>
                  <a:lnTo>
                    <a:pt x="122" y="3200"/>
                  </a:lnTo>
                  <a:lnTo>
                    <a:pt x="195" y="3347"/>
                  </a:lnTo>
                  <a:lnTo>
                    <a:pt x="269" y="3518"/>
                  </a:lnTo>
                  <a:lnTo>
                    <a:pt x="366" y="3640"/>
                  </a:lnTo>
                  <a:lnTo>
                    <a:pt x="464" y="3786"/>
                  </a:lnTo>
                  <a:lnTo>
                    <a:pt x="611" y="3908"/>
                  </a:lnTo>
                  <a:lnTo>
                    <a:pt x="733" y="4031"/>
                  </a:lnTo>
                  <a:lnTo>
                    <a:pt x="904" y="4128"/>
                  </a:lnTo>
                  <a:lnTo>
                    <a:pt x="1050" y="4201"/>
                  </a:lnTo>
                  <a:lnTo>
                    <a:pt x="1221" y="4275"/>
                  </a:lnTo>
                  <a:lnTo>
                    <a:pt x="1392" y="4324"/>
                  </a:lnTo>
                  <a:lnTo>
                    <a:pt x="1563" y="4348"/>
                  </a:lnTo>
                  <a:lnTo>
                    <a:pt x="1734" y="4372"/>
                  </a:lnTo>
                  <a:lnTo>
                    <a:pt x="1905" y="4372"/>
                  </a:lnTo>
                  <a:lnTo>
                    <a:pt x="2076" y="4348"/>
                  </a:lnTo>
                  <a:lnTo>
                    <a:pt x="2247" y="4299"/>
                  </a:lnTo>
                  <a:lnTo>
                    <a:pt x="2418" y="4250"/>
                  </a:lnTo>
                  <a:lnTo>
                    <a:pt x="2565" y="4201"/>
                  </a:lnTo>
                  <a:lnTo>
                    <a:pt x="2711" y="4104"/>
                  </a:lnTo>
                  <a:lnTo>
                    <a:pt x="2858" y="4006"/>
                  </a:lnTo>
                  <a:lnTo>
                    <a:pt x="3004" y="3908"/>
                  </a:lnTo>
                  <a:lnTo>
                    <a:pt x="3126" y="3786"/>
                  </a:lnTo>
                  <a:lnTo>
                    <a:pt x="3248" y="3640"/>
                  </a:lnTo>
                  <a:lnTo>
                    <a:pt x="3346" y="3493"/>
                  </a:lnTo>
                  <a:lnTo>
                    <a:pt x="3468" y="3200"/>
                  </a:lnTo>
                  <a:lnTo>
                    <a:pt x="3541" y="2931"/>
                  </a:lnTo>
                  <a:lnTo>
                    <a:pt x="3590" y="2638"/>
                  </a:lnTo>
                  <a:lnTo>
                    <a:pt x="3566" y="2345"/>
                  </a:lnTo>
                  <a:lnTo>
                    <a:pt x="7205" y="856"/>
                  </a:lnTo>
                  <a:lnTo>
                    <a:pt x="6985" y="440"/>
                  </a:lnTo>
                  <a:lnTo>
                    <a:pt x="6839" y="1"/>
                  </a:lnTo>
                  <a:close/>
                </a:path>
              </a:pathLst>
            </a:custGeom>
            <a:solidFill>
              <a:srgbClr val="18476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44;p2"/>
            <p:cNvSpPr/>
            <p:nvPr/>
          </p:nvSpPr>
          <p:spPr>
            <a:xfrm>
              <a:off x="5461575" y="5316900"/>
              <a:ext cx="89175" cy="159975"/>
            </a:xfrm>
            <a:custGeom>
              <a:avLst/>
              <a:gdLst/>
              <a:ahLst/>
              <a:cxnLst/>
              <a:rect l="l" t="t" r="r" b="b"/>
              <a:pathLst>
                <a:path w="3567" h="6399" extrusionOk="0">
                  <a:moveTo>
                    <a:pt x="1491" y="0"/>
                  </a:moveTo>
                  <a:lnTo>
                    <a:pt x="1393" y="2858"/>
                  </a:lnTo>
                  <a:lnTo>
                    <a:pt x="1198" y="2907"/>
                  </a:lnTo>
                  <a:lnTo>
                    <a:pt x="1002" y="3004"/>
                  </a:lnTo>
                  <a:lnTo>
                    <a:pt x="807" y="3102"/>
                  </a:lnTo>
                  <a:lnTo>
                    <a:pt x="636" y="3224"/>
                  </a:lnTo>
                  <a:lnTo>
                    <a:pt x="489" y="3346"/>
                  </a:lnTo>
                  <a:lnTo>
                    <a:pt x="392" y="3493"/>
                  </a:lnTo>
                  <a:lnTo>
                    <a:pt x="269" y="3639"/>
                  </a:lnTo>
                  <a:lnTo>
                    <a:pt x="196" y="3786"/>
                  </a:lnTo>
                  <a:lnTo>
                    <a:pt x="123" y="3932"/>
                  </a:lnTo>
                  <a:lnTo>
                    <a:pt x="74" y="4103"/>
                  </a:lnTo>
                  <a:lnTo>
                    <a:pt x="25" y="4274"/>
                  </a:lnTo>
                  <a:lnTo>
                    <a:pt x="1" y="4445"/>
                  </a:lnTo>
                  <a:lnTo>
                    <a:pt x="1" y="4616"/>
                  </a:lnTo>
                  <a:lnTo>
                    <a:pt x="1" y="4787"/>
                  </a:lnTo>
                  <a:lnTo>
                    <a:pt x="25" y="4958"/>
                  </a:lnTo>
                  <a:lnTo>
                    <a:pt x="74" y="5129"/>
                  </a:lnTo>
                  <a:lnTo>
                    <a:pt x="123" y="5276"/>
                  </a:lnTo>
                  <a:lnTo>
                    <a:pt x="196" y="5447"/>
                  </a:lnTo>
                  <a:lnTo>
                    <a:pt x="294" y="5593"/>
                  </a:lnTo>
                  <a:lnTo>
                    <a:pt x="416" y="5740"/>
                  </a:lnTo>
                  <a:lnTo>
                    <a:pt x="538" y="5886"/>
                  </a:lnTo>
                  <a:lnTo>
                    <a:pt x="660" y="6008"/>
                  </a:lnTo>
                  <a:lnTo>
                    <a:pt x="807" y="6106"/>
                  </a:lnTo>
                  <a:lnTo>
                    <a:pt x="953" y="6179"/>
                  </a:lnTo>
                  <a:lnTo>
                    <a:pt x="1124" y="6252"/>
                  </a:lnTo>
                  <a:lnTo>
                    <a:pt x="1271" y="6326"/>
                  </a:lnTo>
                  <a:lnTo>
                    <a:pt x="1442" y="6350"/>
                  </a:lnTo>
                  <a:lnTo>
                    <a:pt x="1613" y="6375"/>
                  </a:lnTo>
                  <a:lnTo>
                    <a:pt x="1784" y="6399"/>
                  </a:lnTo>
                  <a:lnTo>
                    <a:pt x="1955" y="6375"/>
                  </a:lnTo>
                  <a:lnTo>
                    <a:pt x="2126" y="6350"/>
                  </a:lnTo>
                  <a:lnTo>
                    <a:pt x="2297" y="6301"/>
                  </a:lnTo>
                  <a:lnTo>
                    <a:pt x="2468" y="6252"/>
                  </a:lnTo>
                  <a:lnTo>
                    <a:pt x="2614" y="6179"/>
                  </a:lnTo>
                  <a:lnTo>
                    <a:pt x="2785" y="6082"/>
                  </a:lnTo>
                  <a:lnTo>
                    <a:pt x="2932" y="5984"/>
                  </a:lnTo>
                  <a:lnTo>
                    <a:pt x="3054" y="5862"/>
                  </a:lnTo>
                  <a:lnTo>
                    <a:pt x="3176" y="5715"/>
                  </a:lnTo>
                  <a:lnTo>
                    <a:pt x="3273" y="5569"/>
                  </a:lnTo>
                  <a:lnTo>
                    <a:pt x="3371" y="5422"/>
                  </a:lnTo>
                  <a:lnTo>
                    <a:pt x="3444" y="5276"/>
                  </a:lnTo>
                  <a:lnTo>
                    <a:pt x="3493" y="5105"/>
                  </a:lnTo>
                  <a:lnTo>
                    <a:pt x="3542" y="4934"/>
                  </a:lnTo>
                  <a:lnTo>
                    <a:pt x="3567" y="4763"/>
                  </a:lnTo>
                  <a:lnTo>
                    <a:pt x="3567" y="4592"/>
                  </a:lnTo>
                  <a:lnTo>
                    <a:pt x="3567" y="4421"/>
                  </a:lnTo>
                  <a:lnTo>
                    <a:pt x="3542" y="4250"/>
                  </a:lnTo>
                  <a:lnTo>
                    <a:pt x="3493" y="4079"/>
                  </a:lnTo>
                  <a:lnTo>
                    <a:pt x="3420" y="3908"/>
                  </a:lnTo>
                  <a:lnTo>
                    <a:pt x="3347" y="3761"/>
                  </a:lnTo>
                  <a:lnTo>
                    <a:pt x="3273" y="3615"/>
                  </a:lnTo>
                  <a:lnTo>
                    <a:pt x="3151" y="3468"/>
                  </a:lnTo>
                  <a:lnTo>
                    <a:pt x="2980" y="3273"/>
                  </a:lnTo>
                  <a:lnTo>
                    <a:pt x="2761" y="3102"/>
                  </a:lnTo>
                  <a:lnTo>
                    <a:pt x="2541" y="2980"/>
                  </a:lnTo>
                  <a:lnTo>
                    <a:pt x="2321" y="2907"/>
                  </a:lnTo>
                  <a:lnTo>
                    <a:pt x="2419" y="25"/>
                  </a:lnTo>
                  <a:lnTo>
                    <a:pt x="2419" y="25"/>
                  </a:lnTo>
                  <a:lnTo>
                    <a:pt x="2126" y="49"/>
                  </a:lnTo>
                  <a:lnTo>
                    <a:pt x="1808" y="25"/>
                  </a:lnTo>
                  <a:lnTo>
                    <a:pt x="1491" y="0"/>
                  </a:lnTo>
                  <a:close/>
                </a:path>
              </a:pathLst>
            </a:custGeom>
            <a:solidFill>
              <a:srgbClr val="18476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45;p2"/>
            <p:cNvSpPr/>
            <p:nvPr/>
          </p:nvSpPr>
          <p:spPr>
            <a:xfrm>
              <a:off x="5619100" y="5194175"/>
              <a:ext cx="161850" cy="89775"/>
            </a:xfrm>
            <a:custGeom>
              <a:avLst/>
              <a:gdLst/>
              <a:ahLst/>
              <a:cxnLst/>
              <a:rect l="l" t="t" r="r" b="b"/>
              <a:pathLst>
                <a:path w="6474" h="3591" extrusionOk="0">
                  <a:moveTo>
                    <a:pt x="4592" y="0"/>
                  </a:moveTo>
                  <a:lnTo>
                    <a:pt x="4422" y="25"/>
                  </a:lnTo>
                  <a:lnTo>
                    <a:pt x="4251" y="73"/>
                  </a:lnTo>
                  <a:lnTo>
                    <a:pt x="4080" y="122"/>
                  </a:lnTo>
                  <a:lnTo>
                    <a:pt x="3884" y="196"/>
                  </a:lnTo>
                  <a:lnTo>
                    <a:pt x="3713" y="293"/>
                  </a:lnTo>
                  <a:lnTo>
                    <a:pt x="3567" y="391"/>
                  </a:lnTo>
                  <a:lnTo>
                    <a:pt x="3420" y="513"/>
                  </a:lnTo>
                  <a:lnTo>
                    <a:pt x="3298" y="660"/>
                  </a:lnTo>
                  <a:lnTo>
                    <a:pt x="3200" y="806"/>
                  </a:lnTo>
                  <a:lnTo>
                    <a:pt x="3103" y="953"/>
                  </a:lnTo>
                  <a:lnTo>
                    <a:pt x="3029" y="1124"/>
                  </a:lnTo>
                  <a:lnTo>
                    <a:pt x="99" y="757"/>
                  </a:lnTo>
                  <a:lnTo>
                    <a:pt x="74" y="1221"/>
                  </a:lnTo>
                  <a:lnTo>
                    <a:pt x="1" y="1661"/>
                  </a:lnTo>
                  <a:lnTo>
                    <a:pt x="2907" y="2027"/>
                  </a:lnTo>
                  <a:lnTo>
                    <a:pt x="2932" y="2223"/>
                  </a:lnTo>
                  <a:lnTo>
                    <a:pt x="3005" y="2418"/>
                  </a:lnTo>
                  <a:lnTo>
                    <a:pt x="3078" y="2565"/>
                  </a:lnTo>
                  <a:lnTo>
                    <a:pt x="3152" y="2736"/>
                  </a:lnTo>
                  <a:lnTo>
                    <a:pt x="3249" y="2882"/>
                  </a:lnTo>
                  <a:lnTo>
                    <a:pt x="3371" y="3004"/>
                  </a:lnTo>
                  <a:lnTo>
                    <a:pt x="3493" y="3126"/>
                  </a:lnTo>
                  <a:lnTo>
                    <a:pt x="3616" y="3248"/>
                  </a:lnTo>
                  <a:lnTo>
                    <a:pt x="3762" y="3346"/>
                  </a:lnTo>
                  <a:lnTo>
                    <a:pt x="3909" y="3419"/>
                  </a:lnTo>
                  <a:lnTo>
                    <a:pt x="4080" y="3493"/>
                  </a:lnTo>
                  <a:lnTo>
                    <a:pt x="4251" y="3541"/>
                  </a:lnTo>
                  <a:lnTo>
                    <a:pt x="4422" y="3566"/>
                  </a:lnTo>
                  <a:lnTo>
                    <a:pt x="4592" y="3590"/>
                  </a:lnTo>
                  <a:lnTo>
                    <a:pt x="4763" y="3590"/>
                  </a:lnTo>
                  <a:lnTo>
                    <a:pt x="4934" y="3566"/>
                  </a:lnTo>
                  <a:lnTo>
                    <a:pt x="5105" y="3541"/>
                  </a:lnTo>
                  <a:lnTo>
                    <a:pt x="5276" y="3468"/>
                  </a:lnTo>
                  <a:lnTo>
                    <a:pt x="5447" y="3419"/>
                  </a:lnTo>
                  <a:lnTo>
                    <a:pt x="5618" y="3322"/>
                  </a:lnTo>
                  <a:lnTo>
                    <a:pt x="5765" y="3224"/>
                  </a:lnTo>
                  <a:lnTo>
                    <a:pt x="5887" y="3102"/>
                  </a:lnTo>
                  <a:lnTo>
                    <a:pt x="6009" y="2980"/>
                  </a:lnTo>
                  <a:lnTo>
                    <a:pt x="6131" y="2858"/>
                  </a:lnTo>
                  <a:lnTo>
                    <a:pt x="6204" y="2711"/>
                  </a:lnTo>
                  <a:lnTo>
                    <a:pt x="6302" y="2565"/>
                  </a:lnTo>
                  <a:lnTo>
                    <a:pt x="6351" y="2394"/>
                  </a:lnTo>
                  <a:lnTo>
                    <a:pt x="6400" y="2223"/>
                  </a:lnTo>
                  <a:lnTo>
                    <a:pt x="6449" y="2076"/>
                  </a:lnTo>
                  <a:lnTo>
                    <a:pt x="6473" y="1881"/>
                  </a:lnTo>
                  <a:lnTo>
                    <a:pt x="6473" y="1710"/>
                  </a:lnTo>
                  <a:lnTo>
                    <a:pt x="6449" y="1539"/>
                  </a:lnTo>
                  <a:lnTo>
                    <a:pt x="6424" y="1368"/>
                  </a:lnTo>
                  <a:lnTo>
                    <a:pt x="6351" y="1197"/>
                  </a:lnTo>
                  <a:lnTo>
                    <a:pt x="6278" y="1026"/>
                  </a:lnTo>
                  <a:lnTo>
                    <a:pt x="6204" y="855"/>
                  </a:lnTo>
                  <a:lnTo>
                    <a:pt x="6107" y="708"/>
                  </a:lnTo>
                  <a:lnTo>
                    <a:pt x="5985" y="586"/>
                  </a:lnTo>
                  <a:lnTo>
                    <a:pt x="5862" y="464"/>
                  </a:lnTo>
                  <a:lnTo>
                    <a:pt x="5740" y="342"/>
                  </a:lnTo>
                  <a:lnTo>
                    <a:pt x="5594" y="269"/>
                  </a:lnTo>
                  <a:lnTo>
                    <a:pt x="5447" y="171"/>
                  </a:lnTo>
                  <a:lnTo>
                    <a:pt x="5276" y="122"/>
                  </a:lnTo>
                  <a:lnTo>
                    <a:pt x="5105" y="73"/>
                  </a:lnTo>
                  <a:lnTo>
                    <a:pt x="4934" y="25"/>
                  </a:lnTo>
                  <a:lnTo>
                    <a:pt x="4763" y="25"/>
                  </a:lnTo>
                  <a:lnTo>
                    <a:pt x="4592" y="0"/>
                  </a:lnTo>
                  <a:close/>
                </a:path>
              </a:pathLst>
            </a:custGeom>
            <a:solidFill>
              <a:srgbClr val="18476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46;p2"/>
            <p:cNvSpPr/>
            <p:nvPr/>
          </p:nvSpPr>
          <p:spPr>
            <a:xfrm>
              <a:off x="5420075" y="5116000"/>
              <a:ext cx="189300" cy="189925"/>
            </a:xfrm>
            <a:custGeom>
              <a:avLst/>
              <a:gdLst/>
              <a:ahLst/>
              <a:cxnLst/>
              <a:rect l="l" t="t" r="r" b="b"/>
              <a:pathLst>
                <a:path w="7572" h="7597" extrusionOk="0">
                  <a:moveTo>
                    <a:pt x="3786" y="1"/>
                  </a:moveTo>
                  <a:lnTo>
                    <a:pt x="3395" y="25"/>
                  </a:lnTo>
                  <a:lnTo>
                    <a:pt x="3028" y="74"/>
                  </a:lnTo>
                  <a:lnTo>
                    <a:pt x="2662" y="172"/>
                  </a:lnTo>
                  <a:lnTo>
                    <a:pt x="2320" y="294"/>
                  </a:lnTo>
                  <a:lnTo>
                    <a:pt x="1978" y="465"/>
                  </a:lnTo>
                  <a:lnTo>
                    <a:pt x="1661" y="660"/>
                  </a:lnTo>
                  <a:lnTo>
                    <a:pt x="1392" y="880"/>
                  </a:lnTo>
                  <a:lnTo>
                    <a:pt x="1123" y="1124"/>
                  </a:lnTo>
                  <a:lnTo>
                    <a:pt x="879" y="1393"/>
                  </a:lnTo>
                  <a:lnTo>
                    <a:pt x="659" y="1686"/>
                  </a:lnTo>
                  <a:lnTo>
                    <a:pt x="464" y="1979"/>
                  </a:lnTo>
                  <a:lnTo>
                    <a:pt x="293" y="2321"/>
                  </a:lnTo>
                  <a:lnTo>
                    <a:pt x="171" y="2663"/>
                  </a:lnTo>
                  <a:lnTo>
                    <a:pt x="73" y="3029"/>
                  </a:lnTo>
                  <a:lnTo>
                    <a:pt x="24" y="3420"/>
                  </a:lnTo>
                  <a:lnTo>
                    <a:pt x="0" y="3787"/>
                  </a:lnTo>
                  <a:lnTo>
                    <a:pt x="24" y="4177"/>
                  </a:lnTo>
                  <a:lnTo>
                    <a:pt x="73" y="4568"/>
                  </a:lnTo>
                  <a:lnTo>
                    <a:pt x="171" y="4934"/>
                  </a:lnTo>
                  <a:lnTo>
                    <a:pt x="293" y="5276"/>
                  </a:lnTo>
                  <a:lnTo>
                    <a:pt x="464" y="5594"/>
                  </a:lnTo>
                  <a:lnTo>
                    <a:pt x="659" y="5911"/>
                  </a:lnTo>
                  <a:lnTo>
                    <a:pt x="879" y="6204"/>
                  </a:lnTo>
                  <a:lnTo>
                    <a:pt x="1123" y="6473"/>
                  </a:lnTo>
                  <a:lnTo>
                    <a:pt x="1392" y="6717"/>
                  </a:lnTo>
                  <a:lnTo>
                    <a:pt x="1661" y="6937"/>
                  </a:lnTo>
                  <a:lnTo>
                    <a:pt x="1978" y="7133"/>
                  </a:lnTo>
                  <a:lnTo>
                    <a:pt x="2320" y="7279"/>
                  </a:lnTo>
                  <a:lnTo>
                    <a:pt x="2662" y="7426"/>
                  </a:lnTo>
                  <a:lnTo>
                    <a:pt x="3028" y="7499"/>
                  </a:lnTo>
                  <a:lnTo>
                    <a:pt x="3395" y="7572"/>
                  </a:lnTo>
                  <a:lnTo>
                    <a:pt x="3786" y="7597"/>
                  </a:lnTo>
                  <a:lnTo>
                    <a:pt x="4176" y="7572"/>
                  </a:lnTo>
                  <a:lnTo>
                    <a:pt x="4567" y="7499"/>
                  </a:lnTo>
                  <a:lnTo>
                    <a:pt x="4909" y="7426"/>
                  </a:lnTo>
                  <a:lnTo>
                    <a:pt x="5275" y="7279"/>
                  </a:lnTo>
                  <a:lnTo>
                    <a:pt x="5593" y="7133"/>
                  </a:lnTo>
                  <a:lnTo>
                    <a:pt x="5910" y="6937"/>
                  </a:lnTo>
                  <a:lnTo>
                    <a:pt x="6203" y="6717"/>
                  </a:lnTo>
                  <a:lnTo>
                    <a:pt x="6472" y="6473"/>
                  </a:lnTo>
                  <a:lnTo>
                    <a:pt x="6716" y="6204"/>
                  </a:lnTo>
                  <a:lnTo>
                    <a:pt x="6936" y="5911"/>
                  </a:lnTo>
                  <a:lnTo>
                    <a:pt x="7132" y="5594"/>
                  </a:lnTo>
                  <a:lnTo>
                    <a:pt x="7278" y="5276"/>
                  </a:lnTo>
                  <a:lnTo>
                    <a:pt x="7425" y="4934"/>
                  </a:lnTo>
                  <a:lnTo>
                    <a:pt x="7498" y="4568"/>
                  </a:lnTo>
                  <a:lnTo>
                    <a:pt x="7571" y="4177"/>
                  </a:lnTo>
                  <a:lnTo>
                    <a:pt x="7571" y="3787"/>
                  </a:lnTo>
                  <a:lnTo>
                    <a:pt x="7571" y="3420"/>
                  </a:lnTo>
                  <a:lnTo>
                    <a:pt x="7498" y="3029"/>
                  </a:lnTo>
                  <a:lnTo>
                    <a:pt x="7425" y="2663"/>
                  </a:lnTo>
                  <a:lnTo>
                    <a:pt x="7278" y="2321"/>
                  </a:lnTo>
                  <a:lnTo>
                    <a:pt x="7132" y="1979"/>
                  </a:lnTo>
                  <a:lnTo>
                    <a:pt x="6936" y="1686"/>
                  </a:lnTo>
                  <a:lnTo>
                    <a:pt x="6716" y="1393"/>
                  </a:lnTo>
                  <a:lnTo>
                    <a:pt x="6472" y="1124"/>
                  </a:lnTo>
                  <a:lnTo>
                    <a:pt x="6203" y="880"/>
                  </a:lnTo>
                  <a:lnTo>
                    <a:pt x="5910" y="660"/>
                  </a:lnTo>
                  <a:lnTo>
                    <a:pt x="5593" y="465"/>
                  </a:lnTo>
                  <a:lnTo>
                    <a:pt x="5275" y="294"/>
                  </a:lnTo>
                  <a:lnTo>
                    <a:pt x="4909" y="172"/>
                  </a:lnTo>
                  <a:lnTo>
                    <a:pt x="4567" y="74"/>
                  </a:lnTo>
                  <a:lnTo>
                    <a:pt x="4176" y="25"/>
                  </a:lnTo>
                  <a:lnTo>
                    <a:pt x="3786" y="1"/>
                  </a:lnTo>
                  <a:close/>
                </a:path>
              </a:pathLst>
            </a:custGeom>
            <a:solidFill>
              <a:srgbClr val="18476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7" name="Google Shape;47;p2"/>
          <p:cNvSpPr/>
          <p:nvPr/>
        </p:nvSpPr>
        <p:spPr>
          <a:xfrm>
            <a:off x="3429208" y="3904791"/>
            <a:ext cx="377839" cy="343685"/>
          </a:xfrm>
          <a:custGeom>
            <a:avLst/>
            <a:gdLst/>
            <a:ahLst/>
            <a:cxnLst/>
            <a:rect l="l" t="t" r="r" b="b"/>
            <a:pathLst>
              <a:path w="16218" h="14752" extrusionOk="0">
                <a:moveTo>
                  <a:pt x="7694" y="0"/>
                </a:moveTo>
                <a:lnTo>
                  <a:pt x="7279" y="25"/>
                </a:lnTo>
                <a:lnTo>
                  <a:pt x="6863" y="74"/>
                </a:lnTo>
                <a:lnTo>
                  <a:pt x="6473" y="123"/>
                </a:lnTo>
                <a:lnTo>
                  <a:pt x="6082" y="196"/>
                </a:lnTo>
                <a:lnTo>
                  <a:pt x="5691" y="293"/>
                </a:lnTo>
                <a:lnTo>
                  <a:pt x="5325" y="416"/>
                </a:lnTo>
                <a:lnTo>
                  <a:pt x="4958" y="538"/>
                </a:lnTo>
                <a:lnTo>
                  <a:pt x="4592" y="660"/>
                </a:lnTo>
                <a:lnTo>
                  <a:pt x="4250" y="831"/>
                </a:lnTo>
                <a:lnTo>
                  <a:pt x="3908" y="977"/>
                </a:lnTo>
                <a:lnTo>
                  <a:pt x="3566" y="1173"/>
                </a:lnTo>
                <a:lnTo>
                  <a:pt x="3249" y="1368"/>
                </a:lnTo>
                <a:lnTo>
                  <a:pt x="2956" y="1563"/>
                </a:lnTo>
                <a:lnTo>
                  <a:pt x="2663" y="1783"/>
                </a:lnTo>
                <a:lnTo>
                  <a:pt x="2370" y="2003"/>
                </a:lnTo>
                <a:lnTo>
                  <a:pt x="2101" y="2247"/>
                </a:lnTo>
                <a:lnTo>
                  <a:pt x="1857" y="2492"/>
                </a:lnTo>
                <a:lnTo>
                  <a:pt x="1612" y="2760"/>
                </a:lnTo>
                <a:lnTo>
                  <a:pt x="1393" y="3029"/>
                </a:lnTo>
                <a:lnTo>
                  <a:pt x="1173" y="3298"/>
                </a:lnTo>
                <a:lnTo>
                  <a:pt x="977" y="3591"/>
                </a:lnTo>
                <a:lnTo>
                  <a:pt x="807" y="3884"/>
                </a:lnTo>
                <a:lnTo>
                  <a:pt x="636" y="4201"/>
                </a:lnTo>
                <a:lnTo>
                  <a:pt x="489" y="4519"/>
                </a:lnTo>
                <a:lnTo>
                  <a:pt x="367" y="4836"/>
                </a:lnTo>
                <a:lnTo>
                  <a:pt x="245" y="5154"/>
                </a:lnTo>
                <a:lnTo>
                  <a:pt x="172" y="5496"/>
                </a:lnTo>
                <a:lnTo>
                  <a:pt x="98" y="5838"/>
                </a:lnTo>
                <a:lnTo>
                  <a:pt x="49" y="6179"/>
                </a:lnTo>
                <a:lnTo>
                  <a:pt x="1" y="6521"/>
                </a:lnTo>
                <a:lnTo>
                  <a:pt x="1" y="6888"/>
                </a:lnTo>
                <a:lnTo>
                  <a:pt x="1" y="7254"/>
                </a:lnTo>
                <a:lnTo>
                  <a:pt x="49" y="7645"/>
                </a:lnTo>
                <a:lnTo>
                  <a:pt x="98" y="8011"/>
                </a:lnTo>
                <a:lnTo>
                  <a:pt x="196" y="8353"/>
                </a:lnTo>
                <a:lnTo>
                  <a:pt x="294" y="8719"/>
                </a:lnTo>
                <a:lnTo>
                  <a:pt x="416" y="9061"/>
                </a:lnTo>
                <a:lnTo>
                  <a:pt x="562" y="9403"/>
                </a:lnTo>
                <a:lnTo>
                  <a:pt x="733" y="9745"/>
                </a:lnTo>
                <a:lnTo>
                  <a:pt x="904" y="10063"/>
                </a:lnTo>
                <a:lnTo>
                  <a:pt x="1100" y="10356"/>
                </a:lnTo>
                <a:lnTo>
                  <a:pt x="1344" y="10673"/>
                </a:lnTo>
                <a:lnTo>
                  <a:pt x="1564" y="10966"/>
                </a:lnTo>
                <a:lnTo>
                  <a:pt x="1832" y="11235"/>
                </a:lnTo>
                <a:lnTo>
                  <a:pt x="2101" y="11504"/>
                </a:lnTo>
                <a:lnTo>
                  <a:pt x="2394" y="11772"/>
                </a:lnTo>
                <a:lnTo>
                  <a:pt x="2687" y="12017"/>
                </a:lnTo>
                <a:lnTo>
                  <a:pt x="2492" y="12383"/>
                </a:lnTo>
                <a:lnTo>
                  <a:pt x="2272" y="12749"/>
                </a:lnTo>
                <a:lnTo>
                  <a:pt x="2028" y="13140"/>
                </a:lnTo>
                <a:lnTo>
                  <a:pt x="1710" y="13506"/>
                </a:lnTo>
                <a:lnTo>
                  <a:pt x="1368" y="13873"/>
                </a:lnTo>
                <a:lnTo>
                  <a:pt x="1173" y="14044"/>
                </a:lnTo>
                <a:lnTo>
                  <a:pt x="953" y="14190"/>
                </a:lnTo>
                <a:lnTo>
                  <a:pt x="733" y="14337"/>
                </a:lnTo>
                <a:lnTo>
                  <a:pt x="513" y="14483"/>
                </a:lnTo>
                <a:lnTo>
                  <a:pt x="269" y="14581"/>
                </a:lnTo>
                <a:lnTo>
                  <a:pt x="1" y="14703"/>
                </a:lnTo>
                <a:lnTo>
                  <a:pt x="123" y="14703"/>
                </a:lnTo>
                <a:lnTo>
                  <a:pt x="489" y="14752"/>
                </a:lnTo>
                <a:lnTo>
                  <a:pt x="1368" y="14752"/>
                </a:lnTo>
                <a:lnTo>
                  <a:pt x="1710" y="14728"/>
                </a:lnTo>
                <a:lnTo>
                  <a:pt x="2101" y="14654"/>
                </a:lnTo>
                <a:lnTo>
                  <a:pt x="2492" y="14581"/>
                </a:lnTo>
                <a:lnTo>
                  <a:pt x="2907" y="14459"/>
                </a:lnTo>
                <a:lnTo>
                  <a:pt x="3322" y="14312"/>
                </a:lnTo>
                <a:lnTo>
                  <a:pt x="3762" y="14117"/>
                </a:lnTo>
                <a:lnTo>
                  <a:pt x="4177" y="13873"/>
                </a:lnTo>
                <a:lnTo>
                  <a:pt x="4592" y="13604"/>
                </a:lnTo>
                <a:lnTo>
                  <a:pt x="4983" y="13238"/>
                </a:lnTo>
                <a:lnTo>
                  <a:pt x="5349" y="13360"/>
                </a:lnTo>
                <a:lnTo>
                  <a:pt x="5716" y="13482"/>
                </a:lnTo>
                <a:lnTo>
                  <a:pt x="6106" y="13555"/>
                </a:lnTo>
                <a:lnTo>
                  <a:pt x="6497" y="13628"/>
                </a:lnTo>
                <a:lnTo>
                  <a:pt x="6888" y="13702"/>
                </a:lnTo>
                <a:lnTo>
                  <a:pt x="7279" y="13751"/>
                </a:lnTo>
                <a:lnTo>
                  <a:pt x="7694" y="13775"/>
                </a:lnTo>
                <a:lnTo>
                  <a:pt x="8524" y="13775"/>
                </a:lnTo>
                <a:lnTo>
                  <a:pt x="8939" y="13751"/>
                </a:lnTo>
                <a:lnTo>
                  <a:pt x="9355" y="13702"/>
                </a:lnTo>
                <a:lnTo>
                  <a:pt x="9745" y="13628"/>
                </a:lnTo>
                <a:lnTo>
                  <a:pt x="10136" y="13555"/>
                </a:lnTo>
                <a:lnTo>
                  <a:pt x="10527" y="13458"/>
                </a:lnTo>
                <a:lnTo>
                  <a:pt x="10893" y="13360"/>
                </a:lnTo>
                <a:lnTo>
                  <a:pt x="11260" y="13238"/>
                </a:lnTo>
                <a:lnTo>
                  <a:pt x="11626" y="13091"/>
                </a:lnTo>
                <a:lnTo>
                  <a:pt x="11968" y="12945"/>
                </a:lnTo>
                <a:lnTo>
                  <a:pt x="12310" y="12774"/>
                </a:lnTo>
                <a:lnTo>
                  <a:pt x="12652" y="12603"/>
                </a:lnTo>
                <a:lnTo>
                  <a:pt x="12969" y="12407"/>
                </a:lnTo>
                <a:lnTo>
                  <a:pt x="13262" y="12212"/>
                </a:lnTo>
                <a:lnTo>
                  <a:pt x="13555" y="11992"/>
                </a:lnTo>
                <a:lnTo>
                  <a:pt x="13848" y="11748"/>
                </a:lnTo>
                <a:lnTo>
                  <a:pt x="14117" y="11528"/>
                </a:lnTo>
                <a:lnTo>
                  <a:pt x="14361" y="11259"/>
                </a:lnTo>
                <a:lnTo>
                  <a:pt x="14606" y="11015"/>
                </a:lnTo>
                <a:lnTo>
                  <a:pt x="14825" y="10747"/>
                </a:lnTo>
                <a:lnTo>
                  <a:pt x="15045" y="10453"/>
                </a:lnTo>
                <a:lnTo>
                  <a:pt x="15241" y="10160"/>
                </a:lnTo>
                <a:lnTo>
                  <a:pt x="15412" y="9867"/>
                </a:lnTo>
                <a:lnTo>
                  <a:pt x="15582" y="9574"/>
                </a:lnTo>
                <a:lnTo>
                  <a:pt x="15729" y="9257"/>
                </a:lnTo>
                <a:lnTo>
                  <a:pt x="15851" y="8939"/>
                </a:lnTo>
                <a:lnTo>
                  <a:pt x="15973" y="8597"/>
                </a:lnTo>
                <a:lnTo>
                  <a:pt x="16047" y="8280"/>
                </a:lnTo>
                <a:lnTo>
                  <a:pt x="16120" y="7938"/>
                </a:lnTo>
                <a:lnTo>
                  <a:pt x="16169" y="7596"/>
                </a:lnTo>
                <a:lnTo>
                  <a:pt x="16217" y="7230"/>
                </a:lnTo>
                <a:lnTo>
                  <a:pt x="16217" y="6888"/>
                </a:lnTo>
                <a:lnTo>
                  <a:pt x="16217" y="6521"/>
                </a:lnTo>
                <a:lnTo>
                  <a:pt x="16169" y="6179"/>
                </a:lnTo>
                <a:lnTo>
                  <a:pt x="16120" y="5838"/>
                </a:lnTo>
                <a:lnTo>
                  <a:pt x="16047" y="5496"/>
                </a:lnTo>
                <a:lnTo>
                  <a:pt x="15973" y="5154"/>
                </a:lnTo>
                <a:lnTo>
                  <a:pt x="15851" y="4836"/>
                </a:lnTo>
                <a:lnTo>
                  <a:pt x="15729" y="4519"/>
                </a:lnTo>
                <a:lnTo>
                  <a:pt x="15582" y="4201"/>
                </a:lnTo>
                <a:lnTo>
                  <a:pt x="15412" y="3884"/>
                </a:lnTo>
                <a:lnTo>
                  <a:pt x="15241" y="3591"/>
                </a:lnTo>
                <a:lnTo>
                  <a:pt x="15045" y="3298"/>
                </a:lnTo>
                <a:lnTo>
                  <a:pt x="14825" y="3029"/>
                </a:lnTo>
                <a:lnTo>
                  <a:pt x="14606" y="2760"/>
                </a:lnTo>
                <a:lnTo>
                  <a:pt x="14361" y="2492"/>
                </a:lnTo>
                <a:lnTo>
                  <a:pt x="14117" y="2247"/>
                </a:lnTo>
                <a:lnTo>
                  <a:pt x="13848" y="2003"/>
                </a:lnTo>
                <a:lnTo>
                  <a:pt x="13555" y="1783"/>
                </a:lnTo>
                <a:lnTo>
                  <a:pt x="13262" y="1563"/>
                </a:lnTo>
                <a:lnTo>
                  <a:pt x="12969" y="1368"/>
                </a:lnTo>
                <a:lnTo>
                  <a:pt x="12652" y="1173"/>
                </a:lnTo>
                <a:lnTo>
                  <a:pt x="12310" y="977"/>
                </a:lnTo>
                <a:lnTo>
                  <a:pt x="11968" y="831"/>
                </a:lnTo>
                <a:lnTo>
                  <a:pt x="11626" y="660"/>
                </a:lnTo>
                <a:lnTo>
                  <a:pt x="11260" y="538"/>
                </a:lnTo>
                <a:lnTo>
                  <a:pt x="10893" y="416"/>
                </a:lnTo>
                <a:lnTo>
                  <a:pt x="10527" y="293"/>
                </a:lnTo>
                <a:lnTo>
                  <a:pt x="10136" y="196"/>
                </a:lnTo>
                <a:lnTo>
                  <a:pt x="9745" y="123"/>
                </a:lnTo>
                <a:lnTo>
                  <a:pt x="9355" y="74"/>
                </a:lnTo>
                <a:lnTo>
                  <a:pt x="8939" y="25"/>
                </a:lnTo>
                <a:lnTo>
                  <a:pt x="8524" y="0"/>
                </a:lnTo>
                <a:close/>
              </a:path>
            </a:pathLst>
          </a:custGeom>
          <a:solidFill>
            <a:srgbClr val="3292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" name="DataClassificationLabel"/>
          <p:cNvSpPr txBox="1"/>
          <p:nvPr userDrawn="1"/>
        </p:nvSpPr>
        <p:spPr>
          <a:xfrm>
            <a:off x="6096000" y="4914900"/>
            <a:ext cx="2540000" cy="169277"/>
          </a:xfrm>
          <a:prstGeom prst="rect">
            <a:avLst/>
          </a:prstGeom>
          <a:noFill/>
        </p:spPr>
        <p:txBody>
          <a:bodyPr vert="horz" rIns="0" bIns="0" rtlCol="0">
            <a:spAutoFit/>
          </a:bodyPr>
          <a:lstStyle/>
          <a:p>
            <a:pPr algn="r"/>
            <a:endParaRPr lang="pt-BR" sz="800" b="0">
              <a:latin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_AND_TWO_COLUMNS_1"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7"/>
          <p:cNvSpPr/>
          <p:nvPr/>
        </p:nvSpPr>
        <p:spPr>
          <a:xfrm rot="5400000">
            <a:off x="499599" y="157100"/>
            <a:ext cx="1146000" cy="13233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60000" y="0"/>
                </a:moveTo>
                <a:lnTo>
                  <a:pt x="120000" y="30000"/>
                </a:lnTo>
                <a:lnTo>
                  <a:pt x="120000" y="90000"/>
                </a:lnTo>
                <a:lnTo>
                  <a:pt x="60000" y="120000"/>
                </a:lnTo>
                <a:lnTo>
                  <a:pt x="0" y="90000"/>
                </a:lnTo>
                <a:lnTo>
                  <a:pt x="0" y="30000"/>
                </a:lnTo>
                <a:close/>
              </a:path>
            </a:pathLst>
          </a:custGeom>
          <a:gradFill>
            <a:gsLst>
              <a:gs pos="0">
                <a:srgbClr val="3393E2"/>
              </a:gs>
              <a:gs pos="100000">
                <a:srgbClr val="00E2C7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Helvetica Neue"/>
              <a:buNone/>
            </a:pPr>
            <a:endParaRPr sz="3200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14" name="Google Shape;214;p7"/>
          <p:cNvSpPr txBox="1">
            <a:spLocks noGrp="1"/>
          </p:cNvSpPr>
          <p:nvPr>
            <p:ph type="title"/>
          </p:nvPr>
        </p:nvSpPr>
        <p:spPr>
          <a:xfrm>
            <a:off x="1732700" y="1735600"/>
            <a:ext cx="4944300" cy="645300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9pPr>
          </a:lstStyle>
          <a:p>
            <a:endParaRPr/>
          </a:p>
        </p:txBody>
      </p:sp>
      <p:sp>
        <p:nvSpPr>
          <p:cNvPr id="215" name="Google Shape;215;p7"/>
          <p:cNvSpPr txBox="1">
            <a:spLocks noGrp="1"/>
          </p:cNvSpPr>
          <p:nvPr>
            <p:ph type="body" idx="1"/>
          </p:nvPr>
        </p:nvSpPr>
        <p:spPr>
          <a:xfrm>
            <a:off x="1732700" y="2380900"/>
            <a:ext cx="2176800" cy="25449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17500" rtl="0">
              <a:spcBef>
                <a:spcPts val="600"/>
              </a:spcBef>
              <a:spcAft>
                <a:spcPts val="0"/>
              </a:spcAft>
              <a:buSzPts val="1400"/>
              <a:buChar char="◇"/>
              <a:defRPr/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￭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￮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16" name="Google Shape;216;p7"/>
          <p:cNvSpPr txBox="1">
            <a:spLocks noGrp="1"/>
          </p:cNvSpPr>
          <p:nvPr>
            <p:ph type="body" idx="2"/>
          </p:nvPr>
        </p:nvSpPr>
        <p:spPr>
          <a:xfrm>
            <a:off x="4020972" y="2380900"/>
            <a:ext cx="2176800" cy="25449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17500" rtl="0">
              <a:spcBef>
                <a:spcPts val="600"/>
              </a:spcBef>
              <a:spcAft>
                <a:spcPts val="0"/>
              </a:spcAft>
              <a:buSzPts val="1400"/>
              <a:buChar char="◇"/>
              <a:defRPr/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￭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￮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17" name="Google Shape;217;p7"/>
          <p:cNvSpPr txBox="1">
            <a:spLocks noGrp="1"/>
          </p:cNvSpPr>
          <p:nvPr>
            <p:ph type="body" idx="3"/>
          </p:nvPr>
        </p:nvSpPr>
        <p:spPr>
          <a:xfrm>
            <a:off x="6309245" y="2380900"/>
            <a:ext cx="2176800" cy="25449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17500" rtl="0">
              <a:spcBef>
                <a:spcPts val="600"/>
              </a:spcBef>
              <a:spcAft>
                <a:spcPts val="0"/>
              </a:spcAft>
              <a:buSzPts val="1400"/>
              <a:buChar char="◇"/>
              <a:defRPr/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￭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￮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18" name="Google Shape;218;p7"/>
          <p:cNvSpPr/>
          <p:nvPr/>
        </p:nvSpPr>
        <p:spPr>
          <a:xfrm rot="10800000" flipH="1">
            <a:off x="-123826" y="1058975"/>
            <a:ext cx="819900" cy="710100"/>
          </a:xfrm>
          <a:prstGeom prst="hexagon">
            <a:avLst>
              <a:gd name="adj" fmla="val 28678"/>
              <a:gd name="vf" fmla="val 115470"/>
            </a:avLst>
          </a:prstGeom>
          <a:noFill/>
          <a:ln w="9525" cap="flat" cmpd="sng">
            <a:solidFill>
              <a:srgbClr val="19BBD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9" name="Google Shape;219;p7"/>
          <p:cNvSpPr/>
          <p:nvPr/>
        </p:nvSpPr>
        <p:spPr>
          <a:xfrm rot="10800000" flipH="1">
            <a:off x="638175" y="1440100"/>
            <a:ext cx="428700" cy="371100"/>
          </a:xfrm>
          <a:prstGeom prst="hexagon">
            <a:avLst>
              <a:gd name="adj" fmla="val 28678"/>
              <a:gd name="vf" fmla="val 115470"/>
            </a:avLst>
          </a:prstGeom>
          <a:solidFill>
            <a:srgbClr val="18476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0" name="Google Shape;220;p7"/>
          <p:cNvSpPr/>
          <p:nvPr/>
        </p:nvSpPr>
        <p:spPr>
          <a:xfrm rot="10800000" flipH="1">
            <a:off x="1495424" y="-131650"/>
            <a:ext cx="819900" cy="710100"/>
          </a:xfrm>
          <a:prstGeom prst="hexagon">
            <a:avLst>
              <a:gd name="adj" fmla="val 28678"/>
              <a:gd name="vf" fmla="val 115470"/>
            </a:avLst>
          </a:prstGeom>
          <a:noFill/>
          <a:ln w="76200" cap="flat" cmpd="sng">
            <a:solidFill>
              <a:srgbClr val="184769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1" name="Google Shape;221;p7"/>
          <p:cNvSpPr/>
          <p:nvPr/>
        </p:nvSpPr>
        <p:spPr>
          <a:xfrm rot="10800000" flipH="1">
            <a:off x="327800" y="88925"/>
            <a:ext cx="358800" cy="310500"/>
          </a:xfrm>
          <a:prstGeom prst="hexagon">
            <a:avLst>
              <a:gd name="adj" fmla="val 28678"/>
              <a:gd name="vf" fmla="val 115470"/>
            </a:avLst>
          </a:prstGeom>
          <a:solidFill>
            <a:srgbClr val="00E1C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22" name="Google Shape;222;p7"/>
          <p:cNvGrpSpPr/>
          <p:nvPr/>
        </p:nvGrpSpPr>
        <p:grpSpPr>
          <a:xfrm>
            <a:off x="1729784" y="61068"/>
            <a:ext cx="351204" cy="324661"/>
            <a:chOff x="5975075" y="2327500"/>
            <a:chExt cx="420100" cy="388350"/>
          </a:xfrm>
        </p:grpSpPr>
        <p:sp>
          <p:nvSpPr>
            <p:cNvPr id="223" name="Google Shape;223;p7"/>
            <p:cNvSpPr/>
            <p:nvPr/>
          </p:nvSpPr>
          <p:spPr>
            <a:xfrm>
              <a:off x="5975075" y="2474650"/>
              <a:ext cx="98325" cy="220450"/>
            </a:xfrm>
            <a:custGeom>
              <a:avLst/>
              <a:gdLst/>
              <a:ahLst/>
              <a:cxnLst/>
              <a:rect l="l" t="t" r="r" b="b"/>
              <a:pathLst>
                <a:path w="3933" h="8818" extrusionOk="0">
                  <a:moveTo>
                    <a:pt x="2418" y="1002"/>
                  </a:moveTo>
                  <a:lnTo>
                    <a:pt x="2565" y="1027"/>
                  </a:lnTo>
                  <a:lnTo>
                    <a:pt x="2687" y="1075"/>
                  </a:lnTo>
                  <a:lnTo>
                    <a:pt x="2809" y="1124"/>
                  </a:lnTo>
                  <a:lnTo>
                    <a:pt x="2907" y="1222"/>
                  </a:lnTo>
                  <a:lnTo>
                    <a:pt x="3005" y="1320"/>
                  </a:lnTo>
                  <a:lnTo>
                    <a:pt x="3078" y="1442"/>
                  </a:lnTo>
                  <a:lnTo>
                    <a:pt x="3102" y="1564"/>
                  </a:lnTo>
                  <a:lnTo>
                    <a:pt x="3127" y="1710"/>
                  </a:lnTo>
                  <a:lnTo>
                    <a:pt x="3102" y="1857"/>
                  </a:lnTo>
                  <a:lnTo>
                    <a:pt x="3078" y="1979"/>
                  </a:lnTo>
                  <a:lnTo>
                    <a:pt x="3005" y="2101"/>
                  </a:lnTo>
                  <a:lnTo>
                    <a:pt x="2907" y="2223"/>
                  </a:lnTo>
                  <a:lnTo>
                    <a:pt x="2809" y="2297"/>
                  </a:lnTo>
                  <a:lnTo>
                    <a:pt x="2687" y="2370"/>
                  </a:lnTo>
                  <a:lnTo>
                    <a:pt x="2565" y="2394"/>
                  </a:lnTo>
                  <a:lnTo>
                    <a:pt x="2418" y="2419"/>
                  </a:lnTo>
                  <a:lnTo>
                    <a:pt x="2272" y="2394"/>
                  </a:lnTo>
                  <a:lnTo>
                    <a:pt x="2150" y="2370"/>
                  </a:lnTo>
                  <a:lnTo>
                    <a:pt x="2028" y="2297"/>
                  </a:lnTo>
                  <a:lnTo>
                    <a:pt x="1930" y="2223"/>
                  </a:lnTo>
                  <a:lnTo>
                    <a:pt x="1832" y="2101"/>
                  </a:lnTo>
                  <a:lnTo>
                    <a:pt x="1759" y="1979"/>
                  </a:lnTo>
                  <a:lnTo>
                    <a:pt x="1735" y="1857"/>
                  </a:lnTo>
                  <a:lnTo>
                    <a:pt x="1710" y="1710"/>
                  </a:lnTo>
                  <a:lnTo>
                    <a:pt x="1735" y="1564"/>
                  </a:lnTo>
                  <a:lnTo>
                    <a:pt x="1759" y="1442"/>
                  </a:lnTo>
                  <a:lnTo>
                    <a:pt x="1832" y="1320"/>
                  </a:lnTo>
                  <a:lnTo>
                    <a:pt x="1930" y="1222"/>
                  </a:lnTo>
                  <a:lnTo>
                    <a:pt x="2028" y="1124"/>
                  </a:lnTo>
                  <a:lnTo>
                    <a:pt x="2150" y="1075"/>
                  </a:lnTo>
                  <a:lnTo>
                    <a:pt x="2272" y="1027"/>
                  </a:lnTo>
                  <a:lnTo>
                    <a:pt x="2418" y="1002"/>
                  </a:lnTo>
                  <a:close/>
                  <a:moveTo>
                    <a:pt x="1" y="1"/>
                  </a:moveTo>
                  <a:lnTo>
                    <a:pt x="1" y="8817"/>
                  </a:lnTo>
                  <a:lnTo>
                    <a:pt x="3933" y="8817"/>
                  </a:lnTo>
                  <a:lnTo>
                    <a:pt x="3933" y="1"/>
                  </a:lnTo>
                  <a:close/>
                </a:path>
              </a:pathLst>
            </a:custGeom>
            <a:solidFill>
              <a:srgbClr val="18476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" name="Google Shape;224;p7"/>
            <p:cNvSpPr/>
            <p:nvPr/>
          </p:nvSpPr>
          <p:spPr>
            <a:xfrm>
              <a:off x="6088025" y="2327500"/>
              <a:ext cx="307150" cy="388350"/>
            </a:xfrm>
            <a:custGeom>
              <a:avLst/>
              <a:gdLst/>
              <a:ahLst/>
              <a:cxnLst/>
              <a:rect l="l" t="t" r="r" b="b"/>
              <a:pathLst>
                <a:path w="12286" h="15534" extrusionOk="0">
                  <a:moveTo>
                    <a:pt x="6326" y="1"/>
                  </a:moveTo>
                  <a:lnTo>
                    <a:pt x="5960" y="25"/>
                  </a:lnTo>
                  <a:lnTo>
                    <a:pt x="5716" y="74"/>
                  </a:lnTo>
                  <a:lnTo>
                    <a:pt x="5520" y="147"/>
                  </a:lnTo>
                  <a:lnTo>
                    <a:pt x="5374" y="221"/>
                  </a:lnTo>
                  <a:lnTo>
                    <a:pt x="4983" y="1466"/>
                  </a:lnTo>
                  <a:lnTo>
                    <a:pt x="4788" y="2028"/>
                  </a:lnTo>
                  <a:lnTo>
                    <a:pt x="4592" y="2541"/>
                  </a:lnTo>
                  <a:lnTo>
                    <a:pt x="4397" y="3005"/>
                  </a:lnTo>
                  <a:lnTo>
                    <a:pt x="4202" y="3396"/>
                  </a:lnTo>
                  <a:lnTo>
                    <a:pt x="4031" y="3689"/>
                  </a:lnTo>
                  <a:lnTo>
                    <a:pt x="3884" y="3933"/>
                  </a:lnTo>
                  <a:lnTo>
                    <a:pt x="3664" y="4153"/>
                  </a:lnTo>
                  <a:lnTo>
                    <a:pt x="3322" y="4495"/>
                  </a:lnTo>
                  <a:lnTo>
                    <a:pt x="2516" y="5252"/>
                  </a:lnTo>
                  <a:lnTo>
                    <a:pt x="1442" y="6229"/>
                  </a:lnTo>
                  <a:lnTo>
                    <a:pt x="1" y="6229"/>
                  </a:lnTo>
                  <a:lnTo>
                    <a:pt x="1" y="13433"/>
                  </a:lnTo>
                  <a:lnTo>
                    <a:pt x="1515" y="13433"/>
                  </a:lnTo>
                  <a:lnTo>
                    <a:pt x="2004" y="13678"/>
                  </a:lnTo>
                  <a:lnTo>
                    <a:pt x="2687" y="13971"/>
                  </a:lnTo>
                  <a:lnTo>
                    <a:pt x="3567" y="14313"/>
                  </a:lnTo>
                  <a:lnTo>
                    <a:pt x="4544" y="14679"/>
                  </a:lnTo>
                  <a:lnTo>
                    <a:pt x="5594" y="14997"/>
                  </a:lnTo>
                  <a:lnTo>
                    <a:pt x="6131" y="15143"/>
                  </a:lnTo>
                  <a:lnTo>
                    <a:pt x="6668" y="15265"/>
                  </a:lnTo>
                  <a:lnTo>
                    <a:pt x="7181" y="15387"/>
                  </a:lnTo>
                  <a:lnTo>
                    <a:pt x="7694" y="15461"/>
                  </a:lnTo>
                  <a:lnTo>
                    <a:pt x="8158" y="15509"/>
                  </a:lnTo>
                  <a:lnTo>
                    <a:pt x="8622" y="15534"/>
                  </a:lnTo>
                  <a:lnTo>
                    <a:pt x="9404" y="15534"/>
                  </a:lnTo>
                  <a:lnTo>
                    <a:pt x="9819" y="15509"/>
                  </a:lnTo>
                  <a:lnTo>
                    <a:pt x="10210" y="15461"/>
                  </a:lnTo>
                  <a:lnTo>
                    <a:pt x="10552" y="15363"/>
                  </a:lnTo>
                  <a:lnTo>
                    <a:pt x="10723" y="15314"/>
                  </a:lnTo>
                  <a:lnTo>
                    <a:pt x="10845" y="15265"/>
                  </a:lnTo>
                  <a:lnTo>
                    <a:pt x="10967" y="15192"/>
                  </a:lnTo>
                  <a:lnTo>
                    <a:pt x="11064" y="15094"/>
                  </a:lnTo>
                  <a:lnTo>
                    <a:pt x="11113" y="14997"/>
                  </a:lnTo>
                  <a:lnTo>
                    <a:pt x="11162" y="14874"/>
                  </a:lnTo>
                  <a:lnTo>
                    <a:pt x="11235" y="14166"/>
                  </a:lnTo>
                  <a:lnTo>
                    <a:pt x="11211" y="13995"/>
                  </a:lnTo>
                  <a:lnTo>
                    <a:pt x="11162" y="13849"/>
                  </a:lnTo>
                  <a:lnTo>
                    <a:pt x="11064" y="13702"/>
                  </a:lnTo>
                  <a:lnTo>
                    <a:pt x="10918" y="13580"/>
                  </a:lnTo>
                  <a:lnTo>
                    <a:pt x="11040" y="13556"/>
                  </a:lnTo>
                  <a:lnTo>
                    <a:pt x="11162" y="13507"/>
                  </a:lnTo>
                  <a:lnTo>
                    <a:pt x="11284" y="13458"/>
                  </a:lnTo>
                  <a:lnTo>
                    <a:pt x="11382" y="13360"/>
                  </a:lnTo>
                  <a:lnTo>
                    <a:pt x="11455" y="13263"/>
                  </a:lnTo>
                  <a:lnTo>
                    <a:pt x="11528" y="13140"/>
                  </a:lnTo>
                  <a:lnTo>
                    <a:pt x="11577" y="12994"/>
                  </a:lnTo>
                  <a:lnTo>
                    <a:pt x="11602" y="12872"/>
                  </a:lnTo>
                  <a:lnTo>
                    <a:pt x="11675" y="11993"/>
                  </a:lnTo>
                  <a:lnTo>
                    <a:pt x="11675" y="11870"/>
                  </a:lnTo>
                  <a:lnTo>
                    <a:pt x="11675" y="11773"/>
                  </a:lnTo>
                  <a:lnTo>
                    <a:pt x="11651" y="11651"/>
                  </a:lnTo>
                  <a:lnTo>
                    <a:pt x="11602" y="11553"/>
                  </a:lnTo>
                  <a:lnTo>
                    <a:pt x="11480" y="11382"/>
                  </a:lnTo>
                  <a:lnTo>
                    <a:pt x="11406" y="11309"/>
                  </a:lnTo>
                  <a:lnTo>
                    <a:pt x="11333" y="11235"/>
                  </a:lnTo>
                  <a:lnTo>
                    <a:pt x="11455" y="11211"/>
                  </a:lnTo>
                  <a:lnTo>
                    <a:pt x="11553" y="11162"/>
                  </a:lnTo>
                  <a:lnTo>
                    <a:pt x="11651" y="11089"/>
                  </a:lnTo>
                  <a:lnTo>
                    <a:pt x="11748" y="10991"/>
                  </a:lnTo>
                  <a:lnTo>
                    <a:pt x="11822" y="10893"/>
                  </a:lnTo>
                  <a:lnTo>
                    <a:pt x="11870" y="10796"/>
                  </a:lnTo>
                  <a:lnTo>
                    <a:pt x="11919" y="10674"/>
                  </a:lnTo>
                  <a:lnTo>
                    <a:pt x="11944" y="10527"/>
                  </a:lnTo>
                  <a:lnTo>
                    <a:pt x="12017" y="9672"/>
                  </a:lnTo>
                  <a:lnTo>
                    <a:pt x="12017" y="9550"/>
                  </a:lnTo>
                  <a:lnTo>
                    <a:pt x="12017" y="9428"/>
                  </a:lnTo>
                  <a:lnTo>
                    <a:pt x="11993" y="9306"/>
                  </a:lnTo>
                  <a:lnTo>
                    <a:pt x="11944" y="9208"/>
                  </a:lnTo>
                  <a:lnTo>
                    <a:pt x="11895" y="9111"/>
                  </a:lnTo>
                  <a:lnTo>
                    <a:pt x="11822" y="9037"/>
                  </a:lnTo>
                  <a:lnTo>
                    <a:pt x="11748" y="8964"/>
                  </a:lnTo>
                  <a:lnTo>
                    <a:pt x="11651" y="8891"/>
                  </a:lnTo>
                  <a:lnTo>
                    <a:pt x="11748" y="8866"/>
                  </a:lnTo>
                  <a:lnTo>
                    <a:pt x="11846" y="8793"/>
                  </a:lnTo>
                  <a:lnTo>
                    <a:pt x="11944" y="8720"/>
                  </a:lnTo>
                  <a:lnTo>
                    <a:pt x="12017" y="8647"/>
                  </a:lnTo>
                  <a:lnTo>
                    <a:pt x="12090" y="8549"/>
                  </a:lnTo>
                  <a:lnTo>
                    <a:pt x="12139" y="8451"/>
                  </a:lnTo>
                  <a:lnTo>
                    <a:pt x="12163" y="8329"/>
                  </a:lnTo>
                  <a:lnTo>
                    <a:pt x="12188" y="8207"/>
                  </a:lnTo>
                  <a:lnTo>
                    <a:pt x="12286" y="7328"/>
                  </a:lnTo>
                  <a:lnTo>
                    <a:pt x="12261" y="7206"/>
                  </a:lnTo>
                  <a:lnTo>
                    <a:pt x="12237" y="7083"/>
                  </a:lnTo>
                  <a:lnTo>
                    <a:pt x="12188" y="6986"/>
                  </a:lnTo>
                  <a:lnTo>
                    <a:pt x="12139" y="6888"/>
                  </a:lnTo>
                  <a:lnTo>
                    <a:pt x="12066" y="6790"/>
                  </a:lnTo>
                  <a:lnTo>
                    <a:pt x="11968" y="6717"/>
                  </a:lnTo>
                  <a:lnTo>
                    <a:pt x="11748" y="6571"/>
                  </a:lnTo>
                  <a:lnTo>
                    <a:pt x="11504" y="6448"/>
                  </a:lnTo>
                  <a:lnTo>
                    <a:pt x="11211" y="6351"/>
                  </a:lnTo>
                  <a:lnTo>
                    <a:pt x="10893" y="6278"/>
                  </a:lnTo>
                  <a:lnTo>
                    <a:pt x="10576" y="6229"/>
                  </a:lnTo>
                  <a:lnTo>
                    <a:pt x="9892" y="6131"/>
                  </a:lnTo>
                  <a:lnTo>
                    <a:pt x="8842" y="6033"/>
                  </a:lnTo>
                  <a:lnTo>
                    <a:pt x="7596" y="5960"/>
                  </a:lnTo>
                  <a:lnTo>
                    <a:pt x="6326" y="5887"/>
                  </a:lnTo>
                  <a:lnTo>
                    <a:pt x="6497" y="5594"/>
                  </a:lnTo>
                  <a:lnTo>
                    <a:pt x="6644" y="5252"/>
                  </a:lnTo>
                  <a:lnTo>
                    <a:pt x="6790" y="4885"/>
                  </a:lnTo>
                  <a:lnTo>
                    <a:pt x="6888" y="4495"/>
                  </a:lnTo>
                  <a:lnTo>
                    <a:pt x="6986" y="4104"/>
                  </a:lnTo>
                  <a:lnTo>
                    <a:pt x="7083" y="3689"/>
                  </a:lnTo>
                  <a:lnTo>
                    <a:pt x="7181" y="2883"/>
                  </a:lnTo>
                  <a:lnTo>
                    <a:pt x="7254" y="2150"/>
                  </a:lnTo>
                  <a:lnTo>
                    <a:pt x="7303" y="1539"/>
                  </a:lnTo>
                  <a:lnTo>
                    <a:pt x="7303" y="978"/>
                  </a:lnTo>
                  <a:lnTo>
                    <a:pt x="7303" y="807"/>
                  </a:lnTo>
                  <a:lnTo>
                    <a:pt x="7230" y="611"/>
                  </a:lnTo>
                  <a:lnTo>
                    <a:pt x="7157" y="465"/>
                  </a:lnTo>
                  <a:lnTo>
                    <a:pt x="7035" y="318"/>
                  </a:lnTo>
                  <a:lnTo>
                    <a:pt x="6888" y="172"/>
                  </a:lnTo>
                  <a:lnTo>
                    <a:pt x="6717" y="98"/>
                  </a:lnTo>
                  <a:lnTo>
                    <a:pt x="6522" y="25"/>
                  </a:lnTo>
                  <a:lnTo>
                    <a:pt x="6326" y="1"/>
                  </a:lnTo>
                  <a:close/>
                </a:path>
              </a:pathLst>
            </a:custGeom>
            <a:solidFill>
              <a:srgbClr val="18476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25" name="Google Shape;225;p7"/>
          <p:cNvSpPr/>
          <p:nvPr/>
        </p:nvSpPr>
        <p:spPr>
          <a:xfrm>
            <a:off x="203100" y="1270177"/>
            <a:ext cx="166061" cy="287704"/>
          </a:xfrm>
          <a:custGeom>
            <a:avLst/>
            <a:gdLst/>
            <a:ahLst/>
            <a:cxnLst/>
            <a:rect l="l" t="t" r="r" b="b"/>
            <a:pathLst>
              <a:path w="11870" h="20565" extrusionOk="0">
                <a:moveTo>
                  <a:pt x="6301" y="977"/>
                </a:moveTo>
                <a:lnTo>
                  <a:pt x="6423" y="1002"/>
                </a:lnTo>
                <a:lnTo>
                  <a:pt x="6497" y="1075"/>
                </a:lnTo>
                <a:lnTo>
                  <a:pt x="6570" y="1148"/>
                </a:lnTo>
                <a:lnTo>
                  <a:pt x="6594" y="1270"/>
                </a:lnTo>
                <a:lnTo>
                  <a:pt x="6570" y="1368"/>
                </a:lnTo>
                <a:lnTo>
                  <a:pt x="6497" y="1466"/>
                </a:lnTo>
                <a:lnTo>
                  <a:pt x="6423" y="1515"/>
                </a:lnTo>
                <a:lnTo>
                  <a:pt x="6301" y="1539"/>
                </a:lnTo>
                <a:lnTo>
                  <a:pt x="5569" y="1539"/>
                </a:lnTo>
                <a:lnTo>
                  <a:pt x="5446" y="1515"/>
                </a:lnTo>
                <a:lnTo>
                  <a:pt x="5373" y="1466"/>
                </a:lnTo>
                <a:lnTo>
                  <a:pt x="5300" y="1368"/>
                </a:lnTo>
                <a:lnTo>
                  <a:pt x="5276" y="1270"/>
                </a:lnTo>
                <a:lnTo>
                  <a:pt x="5300" y="1148"/>
                </a:lnTo>
                <a:lnTo>
                  <a:pt x="5373" y="1075"/>
                </a:lnTo>
                <a:lnTo>
                  <a:pt x="5446" y="1002"/>
                </a:lnTo>
                <a:lnTo>
                  <a:pt x="5569" y="977"/>
                </a:lnTo>
                <a:close/>
                <a:moveTo>
                  <a:pt x="10575" y="2565"/>
                </a:moveTo>
                <a:lnTo>
                  <a:pt x="10575" y="16706"/>
                </a:lnTo>
                <a:lnTo>
                  <a:pt x="1295" y="16706"/>
                </a:lnTo>
                <a:lnTo>
                  <a:pt x="1295" y="2565"/>
                </a:lnTo>
                <a:close/>
                <a:moveTo>
                  <a:pt x="5935" y="17780"/>
                </a:moveTo>
                <a:lnTo>
                  <a:pt x="6106" y="17805"/>
                </a:lnTo>
                <a:lnTo>
                  <a:pt x="6277" y="17854"/>
                </a:lnTo>
                <a:lnTo>
                  <a:pt x="6423" y="17927"/>
                </a:lnTo>
                <a:lnTo>
                  <a:pt x="6545" y="18025"/>
                </a:lnTo>
                <a:lnTo>
                  <a:pt x="6643" y="18147"/>
                </a:lnTo>
                <a:lnTo>
                  <a:pt x="6716" y="18293"/>
                </a:lnTo>
                <a:lnTo>
                  <a:pt x="6765" y="18464"/>
                </a:lnTo>
                <a:lnTo>
                  <a:pt x="6790" y="18635"/>
                </a:lnTo>
                <a:lnTo>
                  <a:pt x="6765" y="18806"/>
                </a:lnTo>
                <a:lnTo>
                  <a:pt x="6716" y="18977"/>
                </a:lnTo>
                <a:lnTo>
                  <a:pt x="6643" y="19124"/>
                </a:lnTo>
                <a:lnTo>
                  <a:pt x="6545" y="19246"/>
                </a:lnTo>
                <a:lnTo>
                  <a:pt x="6423" y="19343"/>
                </a:lnTo>
                <a:lnTo>
                  <a:pt x="6277" y="19417"/>
                </a:lnTo>
                <a:lnTo>
                  <a:pt x="6106" y="19465"/>
                </a:lnTo>
                <a:lnTo>
                  <a:pt x="5935" y="19490"/>
                </a:lnTo>
                <a:lnTo>
                  <a:pt x="5764" y="19465"/>
                </a:lnTo>
                <a:lnTo>
                  <a:pt x="5593" y="19417"/>
                </a:lnTo>
                <a:lnTo>
                  <a:pt x="5446" y="19343"/>
                </a:lnTo>
                <a:lnTo>
                  <a:pt x="5324" y="19246"/>
                </a:lnTo>
                <a:lnTo>
                  <a:pt x="5227" y="19124"/>
                </a:lnTo>
                <a:lnTo>
                  <a:pt x="5153" y="18977"/>
                </a:lnTo>
                <a:lnTo>
                  <a:pt x="5105" y="18806"/>
                </a:lnTo>
                <a:lnTo>
                  <a:pt x="5080" y="18635"/>
                </a:lnTo>
                <a:lnTo>
                  <a:pt x="5105" y="18464"/>
                </a:lnTo>
                <a:lnTo>
                  <a:pt x="5153" y="18293"/>
                </a:lnTo>
                <a:lnTo>
                  <a:pt x="5227" y="18147"/>
                </a:lnTo>
                <a:lnTo>
                  <a:pt x="5324" y="18025"/>
                </a:lnTo>
                <a:lnTo>
                  <a:pt x="5446" y="17927"/>
                </a:lnTo>
                <a:lnTo>
                  <a:pt x="5593" y="17854"/>
                </a:lnTo>
                <a:lnTo>
                  <a:pt x="5764" y="17805"/>
                </a:lnTo>
                <a:lnTo>
                  <a:pt x="5935" y="17780"/>
                </a:lnTo>
                <a:close/>
                <a:moveTo>
                  <a:pt x="1295" y="0"/>
                </a:moveTo>
                <a:lnTo>
                  <a:pt x="1026" y="25"/>
                </a:lnTo>
                <a:lnTo>
                  <a:pt x="782" y="98"/>
                </a:lnTo>
                <a:lnTo>
                  <a:pt x="562" y="220"/>
                </a:lnTo>
                <a:lnTo>
                  <a:pt x="366" y="367"/>
                </a:lnTo>
                <a:lnTo>
                  <a:pt x="220" y="562"/>
                </a:lnTo>
                <a:lnTo>
                  <a:pt x="98" y="782"/>
                </a:lnTo>
                <a:lnTo>
                  <a:pt x="25" y="1026"/>
                </a:lnTo>
                <a:lnTo>
                  <a:pt x="0" y="1295"/>
                </a:lnTo>
                <a:lnTo>
                  <a:pt x="0" y="19270"/>
                </a:lnTo>
                <a:lnTo>
                  <a:pt x="25" y="19539"/>
                </a:lnTo>
                <a:lnTo>
                  <a:pt x="98" y="19783"/>
                </a:lnTo>
                <a:lnTo>
                  <a:pt x="220" y="20003"/>
                </a:lnTo>
                <a:lnTo>
                  <a:pt x="366" y="20198"/>
                </a:lnTo>
                <a:lnTo>
                  <a:pt x="562" y="20345"/>
                </a:lnTo>
                <a:lnTo>
                  <a:pt x="782" y="20467"/>
                </a:lnTo>
                <a:lnTo>
                  <a:pt x="1026" y="20540"/>
                </a:lnTo>
                <a:lnTo>
                  <a:pt x="1295" y="20565"/>
                </a:lnTo>
                <a:lnTo>
                  <a:pt x="10575" y="20565"/>
                </a:lnTo>
                <a:lnTo>
                  <a:pt x="10844" y="20540"/>
                </a:lnTo>
                <a:lnTo>
                  <a:pt x="11088" y="20467"/>
                </a:lnTo>
                <a:lnTo>
                  <a:pt x="11308" y="20345"/>
                </a:lnTo>
                <a:lnTo>
                  <a:pt x="11503" y="20198"/>
                </a:lnTo>
                <a:lnTo>
                  <a:pt x="11650" y="20003"/>
                </a:lnTo>
                <a:lnTo>
                  <a:pt x="11772" y="19783"/>
                </a:lnTo>
                <a:lnTo>
                  <a:pt x="11845" y="19539"/>
                </a:lnTo>
                <a:lnTo>
                  <a:pt x="11870" y="19270"/>
                </a:lnTo>
                <a:lnTo>
                  <a:pt x="11870" y="1295"/>
                </a:lnTo>
                <a:lnTo>
                  <a:pt x="11845" y="1026"/>
                </a:lnTo>
                <a:lnTo>
                  <a:pt x="11772" y="782"/>
                </a:lnTo>
                <a:lnTo>
                  <a:pt x="11650" y="562"/>
                </a:lnTo>
                <a:lnTo>
                  <a:pt x="11503" y="367"/>
                </a:lnTo>
                <a:lnTo>
                  <a:pt x="11308" y="220"/>
                </a:lnTo>
                <a:lnTo>
                  <a:pt x="11088" y="98"/>
                </a:lnTo>
                <a:lnTo>
                  <a:pt x="10844" y="25"/>
                </a:lnTo>
                <a:lnTo>
                  <a:pt x="10575" y="0"/>
                </a:lnTo>
                <a:close/>
              </a:path>
            </a:pathLst>
          </a:custGeom>
          <a:solidFill>
            <a:srgbClr val="19BBD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26" name="Google Shape;226;p7"/>
          <p:cNvGrpSpPr/>
          <p:nvPr/>
        </p:nvGrpSpPr>
        <p:grpSpPr>
          <a:xfrm>
            <a:off x="904276" y="515192"/>
            <a:ext cx="382958" cy="607111"/>
            <a:chOff x="6718575" y="2318625"/>
            <a:chExt cx="256950" cy="407375"/>
          </a:xfrm>
        </p:grpSpPr>
        <p:sp>
          <p:nvSpPr>
            <p:cNvPr id="227" name="Google Shape;227;p7"/>
            <p:cNvSpPr/>
            <p:nvPr/>
          </p:nvSpPr>
          <p:spPr>
            <a:xfrm>
              <a:off x="6795900" y="2673600"/>
              <a:ext cx="102300" cy="22550"/>
            </a:xfrm>
            <a:custGeom>
              <a:avLst/>
              <a:gdLst/>
              <a:ahLst/>
              <a:cxnLst/>
              <a:rect l="l" t="t" r="r" b="b"/>
              <a:pathLst>
                <a:path w="4092" h="902" fill="none" extrusionOk="0">
                  <a:moveTo>
                    <a:pt x="4092" y="902"/>
                  </a:moveTo>
                  <a:lnTo>
                    <a:pt x="4092" y="1"/>
                  </a:lnTo>
                  <a:lnTo>
                    <a:pt x="0" y="1"/>
                  </a:lnTo>
                  <a:lnTo>
                    <a:pt x="0" y="902"/>
                  </a:lnTo>
                  <a:lnTo>
                    <a:pt x="4092" y="902"/>
                  </a:lnTo>
                  <a:close/>
                </a:path>
              </a:pathLst>
            </a:custGeom>
            <a:noFill/>
            <a:ln w="12175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" name="Google Shape;228;p7"/>
            <p:cNvSpPr/>
            <p:nvPr/>
          </p:nvSpPr>
          <p:spPr>
            <a:xfrm>
              <a:off x="6795900" y="2650475"/>
              <a:ext cx="102300" cy="22550"/>
            </a:xfrm>
            <a:custGeom>
              <a:avLst/>
              <a:gdLst/>
              <a:ahLst/>
              <a:cxnLst/>
              <a:rect l="l" t="t" r="r" b="b"/>
              <a:pathLst>
                <a:path w="4092" h="902" fill="none" extrusionOk="0">
                  <a:moveTo>
                    <a:pt x="4092" y="901"/>
                  </a:moveTo>
                  <a:lnTo>
                    <a:pt x="4092" y="0"/>
                  </a:lnTo>
                  <a:lnTo>
                    <a:pt x="0" y="0"/>
                  </a:lnTo>
                  <a:lnTo>
                    <a:pt x="0" y="901"/>
                  </a:lnTo>
                  <a:lnTo>
                    <a:pt x="4092" y="901"/>
                  </a:lnTo>
                  <a:close/>
                </a:path>
              </a:pathLst>
            </a:custGeom>
            <a:noFill/>
            <a:ln w="12175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" name="Google Shape;229;p7"/>
            <p:cNvSpPr/>
            <p:nvPr/>
          </p:nvSpPr>
          <p:spPr>
            <a:xfrm>
              <a:off x="6795900" y="2696125"/>
              <a:ext cx="102300" cy="29875"/>
            </a:xfrm>
            <a:custGeom>
              <a:avLst/>
              <a:gdLst/>
              <a:ahLst/>
              <a:cxnLst/>
              <a:rect l="l" t="t" r="r" b="b"/>
              <a:pathLst>
                <a:path w="4092" h="1195" fill="none" extrusionOk="0">
                  <a:moveTo>
                    <a:pt x="0" y="1"/>
                  </a:moveTo>
                  <a:lnTo>
                    <a:pt x="0" y="171"/>
                  </a:lnTo>
                  <a:lnTo>
                    <a:pt x="0" y="171"/>
                  </a:lnTo>
                  <a:lnTo>
                    <a:pt x="24" y="318"/>
                  </a:lnTo>
                  <a:lnTo>
                    <a:pt x="98" y="464"/>
                  </a:lnTo>
                  <a:lnTo>
                    <a:pt x="195" y="585"/>
                  </a:lnTo>
                  <a:lnTo>
                    <a:pt x="341" y="659"/>
                  </a:lnTo>
                  <a:lnTo>
                    <a:pt x="1875" y="1170"/>
                  </a:lnTo>
                  <a:lnTo>
                    <a:pt x="1875" y="1170"/>
                  </a:lnTo>
                  <a:lnTo>
                    <a:pt x="2046" y="1194"/>
                  </a:lnTo>
                  <a:lnTo>
                    <a:pt x="2046" y="1194"/>
                  </a:lnTo>
                  <a:lnTo>
                    <a:pt x="2216" y="1170"/>
                  </a:lnTo>
                  <a:lnTo>
                    <a:pt x="3751" y="659"/>
                  </a:lnTo>
                  <a:lnTo>
                    <a:pt x="3751" y="659"/>
                  </a:lnTo>
                  <a:lnTo>
                    <a:pt x="3897" y="585"/>
                  </a:lnTo>
                  <a:lnTo>
                    <a:pt x="3994" y="464"/>
                  </a:lnTo>
                  <a:lnTo>
                    <a:pt x="4067" y="318"/>
                  </a:lnTo>
                  <a:lnTo>
                    <a:pt x="4092" y="171"/>
                  </a:lnTo>
                  <a:lnTo>
                    <a:pt x="4092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12175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" name="Google Shape;230;p7"/>
            <p:cNvSpPr/>
            <p:nvPr/>
          </p:nvSpPr>
          <p:spPr>
            <a:xfrm>
              <a:off x="6784925" y="2459275"/>
              <a:ext cx="35350" cy="166875"/>
            </a:xfrm>
            <a:custGeom>
              <a:avLst/>
              <a:gdLst/>
              <a:ahLst/>
              <a:cxnLst/>
              <a:rect l="l" t="t" r="r" b="b"/>
              <a:pathLst>
                <a:path w="1414" h="6675" fill="none" extrusionOk="0">
                  <a:moveTo>
                    <a:pt x="1413" y="6674"/>
                  </a:moveTo>
                  <a:lnTo>
                    <a:pt x="1413" y="6674"/>
                  </a:lnTo>
                  <a:lnTo>
                    <a:pt x="585" y="2850"/>
                  </a:lnTo>
                  <a:lnTo>
                    <a:pt x="1" y="1"/>
                  </a:lnTo>
                </a:path>
              </a:pathLst>
            </a:custGeom>
            <a:noFill/>
            <a:ln w="12175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" name="Google Shape;231;p7"/>
            <p:cNvSpPr/>
            <p:nvPr/>
          </p:nvSpPr>
          <p:spPr>
            <a:xfrm>
              <a:off x="6718575" y="2318625"/>
              <a:ext cx="256950" cy="307525"/>
            </a:xfrm>
            <a:custGeom>
              <a:avLst/>
              <a:gdLst/>
              <a:ahLst/>
              <a:cxnLst/>
              <a:rect l="l" t="t" r="r" b="b"/>
              <a:pathLst>
                <a:path w="10278" h="12301" fill="none" extrusionOk="0">
                  <a:moveTo>
                    <a:pt x="7185" y="12300"/>
                  </a:moveTo>
                  <a:lnTo>
                    <a:pt x="7185" y="12300"/>
                  </a:lnTo>
                  <a:lnTo>
                    <a:pt x="7307" y="11764"/>
                  </a:lnTo>
                  <a:lnTo>
                    <a:pt x="7477" y="11253"/>
                  </a:lnTo>
                  <a:lnTo>
                    <a:pt x="7672" y="10766"/>
                  </a:lnTo>
                  <a:lnTo>
                    <a:pt x="7891" y="10327"/>
                  </a:lnTo>
                  <a:lnTo>
                    <a:pt x="8135" y="9913"/>
                  </a:lnTo>
                  <a:lnTo>
                    <a:pt x="8378" y="9499"/>
                  </a:lnTo>
                  <a:lnTo>
                    <a:pt x="8914" y="8720"/>
                  </a:lnTo>
                  <a:lnTo>
                    <a:pt x="9182" y="8330"/>
                  </a:lnTo>
                  <a:lnTo>
                    <a:pt x="9425" y="7941"/>
                  </a:lnTo>
                  <a:lnTo>
                    <a:pt x="9645" y="7551"/>
                  </a:lnTo>
                  <a:lnTo>
                    <a:pt x="9864" y="7113"/>
                  </a:lnTo>
                  <a:lnTo>
                    <a:pt x="10034" y="6674"/>
                  </a:lnTo>
                  <a:lnTo>
                    <a:pt x="10156" y="6187"/>
                  </a:lnTo>
                  <a:lnTo>
                    <a:pt x="10229" y="5676"/>
                  </a:lnTo>
                  <a:lnTo>
                    <a:pt x="10253" y="5408"/>
                  </a:lnTo>
                  <a:lnTo>
                    <a:pt x="10278" y="5140"/>
                  </a:lnTo>
                  <a:lnTo>
                    <a:pt x="10278" y="5140"/>
                  </a:lnTo>
                  <a:lnTo>
                    <a:pt x="10229" y="4604"/>
                  </a:lnTo>
                  <a:lnTo>
                    <a:pt x="10156" y="4093"/>
                  </a:lnTo>
                  <a:lnTo>
                    <a:pt x="10034" y="3605"/>
                  </a:lnTo>
                  <a:lnTo>
                    <a:pt x="9864" y="3143"/>
                  </a:lnTo>
                  <a:lnTo>
                    <a:pt x="9645" y="2680"/>
                  </a:lnTo>
                  <a:lnTo>
                    <a:pt x="9401" y="2266"/>
                  </a:lnTo>
                  <a:lnTo>
                    <a:pt x="9084" y="1876"/>
                  </a:lnTo>
                  <a:lnTo>
                    <a:pt x="8768" y="1511"/>
                  </a:lnTo>
                  <a:lnTo>
                    <a:pt x="8402" y="1170"/>
                  </a:lnTo>
                  <a:lnTo>
                    <a:pt x="8013" y="878"/>
                  </a:lnTo>
                  <a:lnTo>
                    <a:pt x="7574" y="634"/>
                  </a:lnTo>
                  <a:lnTo>
                    <a:pt x="7136" y="415"/>
                  </a:lnTo>
                  <a:lnTo>
                    <a:pt x="6673" y="244"/>
                  </a:lnTo>
                  <a:lnTo>
                    <a:pt x="6162" y="98"/>
                  </a:lnTo>
                  <a:lnTo>
                    <a:pt x="5675" y="25"/>
                  </a:lnTo>
                  <a:lnTo>
                    <a:pt x="5139" y="1"/>
                  </a:lnTo>
                  <a:lnTo>
                    <a:pt x="5139" y="1"/>
                  </a:lnTo>
                  <a:lnTo>
                    <a:pt x="4603" y="25"/>
                  </a:lnTo>
                  <a:lnTo>
                    <a:pt x="4116" y="98"/>
                  </a:lnTo>
                  <a:lnTo>
                    <a:pt x="3605" y="244"/>
                  </a:lnTo>
                  <a:lnTo>
                    <a:pt x="3142" y="415"/>
                  </a:lnTo>
                  <a:lnTo>
                    <a:pt x="2703" y="634"/>
                  </a:lnTo>
                  <a:lnTo>
                    <a:pt x="2265" y="878"/>
                  </a:lnTo>
                  <a:lnTo>
                    <a:pt x="1875" y="1170"/>
                  </a:lnTo>
                  <a:lnTo>
                    <a:pt x="1510" y="1511"/>
                  </a:lnTo>
                  <a:lnTo>
                    <a:pt x="1193" y="1876"/>
                  </a:lnTo>
                  <a:lnTo>
                    <a:pt x="877" y="2266"/>
                  </a:lnTo>
                  <a:lnTo>
                    <a:pt x="633" y="2680"/>
                  </a:lnTo>
                  <a:lnTo>
                    <a:pt x="414" y="3143"/>
                  </a:lnTo>
                  <a:lnTo>
                    <a:pt x="244" y="3605"/>
                  </a:lnTo>
                  <a:lnTo>
                    <a:pt x="122" y="4093"/>
                  </a:lnTo>
                  <a:lnTo>
                    <a:pt x="49" y="4604"/>
                  </a:lnTo>
                  <a:lnTo>
                    <a:pt x="0" y="5140"/>
                  </a:lnTo>
                  <a:lnTo>
                    <a:pt x="0" y="5140"/>
                  </a:lnTo>
                  <a:lnTo>
                    <a:pt x="24" y="5408"/>
                  </a:lnTo>
                  <a:lnTo>
                    <a:pt x="49" y="5676"/>
                  </a:lnTo>
                  <a:lnTo>
                    <a:pt x="122" y="6187"/>
                  </a:lnTo>
                  <a:lnTo>
                    <a:pt x="244" y="6674"/>
                  </a:lnTo>
                  <a:lnTo>
                    <a:pt x="414" y="7113"/>
                  </a:lnTo>
                  <a:lnTo>
                    <a:pt x="633" y="7551"/>
                  </a:lnTo>
                  <a:lnTo>
                    <a:pt x="852" y="7941"/>
                  </a:lnTo>
                  <a:lnTo>
                    <a:pt x="1096" y="8330"/>
                  </a:lnTo>
                  <a:lnTo>
                    <a:pt x="1364" y="8720"/>
                  </a:lnTo>
                  <a:lnTo>
                    <a:pt x="1900" y="9499"/>
                  </a:lnTo>
                  <a:lnTo>
                    <a:pt x="2143" y="9913"/>
                  </a:lnTo>
                  <a:lnTo>
                    <a:pt x="2387" y="10327"/>
                  </a:lnTo>
                  <a:lnTo>
                    <a:pt x="2606" y="10766"/>
                  </a:lnTo>
                  <a:lnTo>
                    <a:pt x="2801" y="11253"/>
                  </a:lnTo>
                  <a:lnTo>
                    <a:pt x="2971" y="11764"/>
                  </a:lnTo>
                  <a:lnTo>
                    <a:pt x="3093" y="12300"/>
                  </a:lnTo>
                </a:path>
              </a:pathLst>
            </a:custGeom>
            <a:noFill/>
            <a:ln w="12175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" name="Google Shape;232;p7"/>
            <p:cNvSpPr/>
            <p:nvPr/>
          </p:nvSpPr>
          <p:spPr>
            <a:xfrm>
              <a:off x="6873825" y="2459275"/>
              <a:ext cx="35350" cy="166875"/>
            </a:xfrm>
            <a:custGeom>
              <a:avLst/>
              <a:gdLst/>
              <a:ahLst/>
              <a:cxnLst/>
              <a:rect l="l" t="t" r="r" b="b"/>
              <a:pathLst>
                <a:path w="1414" h="6675" fill="none" extrusionOk="0">
                  <a:moveTo>
                    <a:pt x="1413" y="1"/>
                  </a:moveTo>
                  <a:lnTo>
                    <a:pt x="1413" y="1"/>
                  </a:lnTo>
                  <a:lnTo>
                    <a:pt x="829" y="2850"/>
                  </a:lnTo>
                  <a:lnTo>
                    <a:pt x="1" y="6674"/>
                  </a:lnTo>
                </a:path>
              </a:pathLst>
            </a:custGeom>
            <a:noFill/>
            <a:ln w="12175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" name="Google Shape;233;p7"/>
            <p:cNvSpPr/>
            <p:nvPr/>
          </p:nvSpPr>
          <p:spPr>
            <a:xfrm>
              <a:off x="6801975" y="2453200"/>
              <a:ext cx="90150" cy="19500"/>
            </a:xfrm>
            <a:custGeom>
              <a:avLst/>
              <a:gdLst/>
              <a:ahLst/>
              <a:cxnLst/>
              <a:rect l="l" t="t" r="r" b="b"/>
              <a:pathLst>
                <a:path w="3606" h="780" fill="none" extrusionOk="0">
                  <a:moveTo>
                    <a:pt x="1" y="73"/>
                  </a:moveTo>
                  <a:lnTo>
                    <a:pt x="829" y="780"/>
                  </a:lnTo>
                  <a:lnTo>
                    <a:pt x="1657" y="73"/>
                  </a:lnTo>
                  <a:lnTo>
                    <a:pt x="1657" y="73"/>
                  </a:lnTo>
                  <a:lnTo>
                    <a:pt x="1730" y="25"/>
                  </a:lnTo>
                  <a:lnTo>
                    <a:pt x="1803" y="0"/>
                  </a:lnTo>
                  <a:lnTo>
                    <a:pt x="1876" y="25"/>
                  </a:lnTo>
                  <a:lnTo>
                    <a:pt x="1949" y="73"/>
                  </a:lnTo>
                  <a:lnTo>
                    <a:pt x="2777" y="780"/>
                  </a:lnTo>
                  <a:lnTo>
                    <a:pt x="3605" y="73"/>
                  </a:lnTo>
                </a:path>
              </a:pathLst>
            </a:custGeom>
            <a:noFill/>
            <a:ln w="12175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234;p7"/>
            <p:cNvSpPr/>
            <p:nvPr/>
          </p:nvSpPr>
          <p:spPr>
            <a:xfrm>
              <a:off x="6795900" y="2628550"/>
              <a:ext cx="102300" cy="25"/>
            </a:xfrm>
            <a:custGeom>
              <a:avLst/>
              <a:gdLst/>
              <a:ahLst/>
              <a:cxnLst/>
              <a:rect l="l" t="t" r="r" b="b"/>
              <a:pathLst>
                <a:path w="4092" h="1" fill="none" extrusionOk="0">
                  <a:moveTo>
                    <a:pt x="0" y="1"/>
                  </a:moveTo>
                  <a:lnTo>
                    <a:pt x="4092" y="1"/>
                  </a:lnTo>
                </a:path>
              </a:pathLst>
            </a:custGeom>
            <a:noFill/>
            <a:ln w="12175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35" name="Google Shape;235;p7"/>
          <p:cNvGrpSpPr/>
          <p:nvPr/>
        </p:nvGrpSpPr>
        <p:grpSpPr>
          <a:xfrm>
            <a:off x="335759" y="1840531"/>
            <a:ext cx="342882" cy="350068"/>
            <a:chOff x="3951850" y="2985350"/>
            <a:chExt cx="407950" cy="416500"/>
          </a:xfrm>
        </p:grpSpPr>
        <p:sp>
          <p:nvSpPr>
            <p:cNvPr id="236" name="Google Shape;236;p7"/>
            <p:cNvSpPr/>
            <p:nvPr/>
          </p:nvSpPr>
          <p:spPr>
            <a:xfrm>
              <a:off x="3951850" y="2985350"/>
              <a:ext cx="314800" cy="314825"/>
            </a:xfrm>
            <a:custGeom>
              <a:avLst/>
              <a:gdLst/>
              <a:ahLst/>
              <a:cxnLst/>
              <a:rect l="l" t="t" r="r" b="b"/>
              <a:pathLst>
                <a:path w="12592" h="12593" fill="none" extrusionOk="0">
                  <a:moveTo>
                    <a:pt x="6284" y="1"/>
                  </a:moveTo>
                  <a:lnTo>
                    <a:pt x="6284" y="1"/>
                  </a:lnTo>
                  <a:lnTo>
                    <a:pt x="5967" y="25"/>
                  </a:lnTo>
                  <a:lnTo>
                    <a:pt x="5651" y="49"/>
                  </a:lnTo>
                  <a:lnTo>
                    <a:pt x="5334" y="74"/>
                  </a:lnTo>
                  <a:lnTo>
                    <a:pt x="5017" y="147"/>
                  </a:lnTo>
                  <a:lnTo>
                    <a:pt x="4725" y="220"/>
                  </a:lnTo>
                  <a:lnTo>
                    <a:pt x="4433" y="293"/>
                  </a:lnTo>
                  <a:lnTo>
                    <a:pt x="4141" y="390"/>
                  </a:lnTo>
                  <a:lnTo>
                    <a:pt x="3848" y="512"/>
                  </a:lnTo>
                  <a:lnTo>
                    <a:pt x="3556" y="634"/>
                  </a:lnTo>
                  <a:lnTo>
                    <a:pt x="3288" y="780"/>
                  </a:lnTo>
                  <a:lnTo>
                    <a:pt x="3020" y="926"/>
                  </a:lnTo>
                  <a:lnTo>
                    <a:pt x="2777" y="1072"/>
                  </a:lnTo>
                  <a:lnTo>
                    <a:pt x="2290" y="1437"/>
                  </a:lnTo>
                  <a:lnTo>
                    <a:pt x="1851" y="1852"/>
                  </a:lnTo>
                  <a:lnTo>
                    <a:pt x="1437" y="2290"/>
                  </a:lnTo>
                  <a:lnTo>
                    <a:pt x="1072" y="2777"/>
                  </a:lnTo>
                  <a:lnTo>
                    <a:pt x="901" y="3045"/>
                  </a:lnTo>
                  <a:lnTo>
                    <a:pt x="755" y="3313"/>
                  </a:lnTo>
                  <a:lnTo>
                    <a:pt x="609" y="3581"/>
                  </a:lnTo>
                  <a:lnTo>
                    <a:pt x="487" y="3849"/>
                  </a:lnTo>
                  <a:lnTo>
                    <a:pt x="390" y="4141"/>
                  </a:lnTo>
                  <a:lnTo>
                    <a:pt x="292" y="4433"/>
                  </a:lnTo>
                  <a:lnTo>
                    <a:pt x="195" y="4725"/>
                  </a:lnTo>
                  <a:lnTo>
                    <a:pt x="122" y="5042"/>
                  </a:lnTo>
                  <a:lnTo>
                    <a:pt x="73" y="5334"/>
                  </a:lnTo>
                  <a:lnTo>
                    <a:pt x="25" y="5651"/>
                  </a:lnTo>
                  <a:lnTo>
                    <a:pt x="0" y="5968"/>
                  </a:lnTo>
                  <a:lnTo>
                    <a:pt x="0" y="6308"/>
                  </a:lnTo>
                  <a:lnTo>
                    <a:pt x="0" y="6308"/>
                  </a:lnTo>
                  <a:lnTo>
                    <a:pt x="0" y="6625"/>
                  </a:lnTo>
                  <a:lnTo>
                    <a:pt x="25" y="6942"/>
                  </a:lnTo>
                  <a:lnTo>
                    <a:pt x="73" y="7258"/>
                  </a:lnTo>
                  <a:lnTo>
                    <a:pt x="122" y="7575"/>
                  </a:lnTo>
                  <a:lnTo>
                    <a:pt x="195" y="7867"/>
                  </a:lnTo>
                  <a:lnTo>
                    <a:pt x="292" y="8184"/>
                  </a:lnTo>
                  <a:lnTo>
                    <a:pt x="390" y="8476"/>
                  </a:lnTo>
                  <a:lnTo>
                    <a:pt x="487" y="8744"/>
                  </a:lnTo>
                  <a:lnTo>
                    <a:pt x="609" y="9036"/>
                  </a:lnTo>
                  <a:lnTo>
                    <a:pt x="755" y="9304"/>
                  </a:lnTo>
                  <a:lnTo>
                    <a:pt x="901" y="9572"/>
                  </a:lnTo>
                  <a:lnTo>
                    <a:pt x="1072" y="9816"/>
                  </a:lnTo>
                  <a:lnTo>
                    <a:pt x="1437" y="10303"/>
                  </a:lnTo>
                  <a:lnTo>
                    <a:pt x="1851" y="10741"/>
                  </a:lnTo>
                  <a:lnTo>
                    <a:pt x="2290" y="11155"/>
                  </a:lnTo>
                  <a:lnTo>
                    <a:pt x="2777" y="11520"/>
                  </a:lnTo>
                  <a:lnTo>
                    <a:pt x="3020" y="11691"/>
                  </a:lnTo>
                  <a:lnTo>
                    <a:pt x="3288" y="11837"/>
                  </a:lnTo>
                  <a:lnTo>
                    <a:pt x="3556" y="11983"/>
                  </a:lnTo>
                  <a:lnTo>
                    <a:pt x="3848" y="12105"/>
                  </a:lnTo>
                  <a:lnTo>
                    <a:pt x="4141" y="12202"/>
                  </a:lnTo>
                  <a:lnTo>
                    <a:pt x="4433" y="12300"/>
                  </a:lnTo>
                  <a:lnTo>
                    <a:pt x="4725" y="12397"/>
                  </a:lnTo>
                  <a:lnTo>
                    <a:pt x="5017" y="12470"/>
                  </a:lnTo>
                  <a:lnTo>
                    <a:pt x="5334" y="12519"/>
                  </a:lnTo>
                  <a:lnTo>
                    <a:pt x="5651" y="12568"/>
                  </a:lnTo>
                  <a:lnTo>
                    <a:pt x="5967" y="12592"/>
                  </a:lnTo>
                  <a:lnTo>
                    <a:pt x="6284" y="12592"/>
                  </a:lnTo>
                  <a:lnTo>
                    <a:pt x="6284" y="12592"/>
                  </a:lnTo>
                  <a:lnTo>
                    <a:pt x="6625" y="12592"/>
                  </a:lnTo>
                  <a:lnTo>
                    <a:pt x="6941" y="12568"/>
                  </a:lnTo>
                  <a:lnTo>
                    <a:pt x="7258" y="12519"/>
                  </a:lnTo>
                  <a:lnTo>
                    <a:pt x="7550" y="12470"/>
                  </a:lnTo>
                  <a:lnTo>
                    <a:pt x="7867" y="12397"/>
                  </a:lnTo>
                  <a:lnTo>
                    <a:pt x="8159" y="12300"/>
                  </a:lnTo>
                  <a:lnTo>
                    <a:pt x="8451" y="12202"/>
                  </a:lnTo>
                  <a:lnTo>
                    <a:pt x="8744" y="12105"/>
                  </a:lnTo>
                  <a:lnTo>
                    <a:pt x="9012" y="11983"/>
                  </a:lnTo>
                  <a:lnTo>
                    <a:pt x="9279" y="11837"/>
                  </a:lnTo>
                  <a:lnTo>
                    <a:pt x="9547" y="11691"/>
                  </a:lnTo>
                  <a:lnTo>
                    <a:pt x="9815" y="11520"/>
                  </a:lnTo>
                  <a:lnTo>
                    <a:pt x="10302" y="11155"/>
                  </a:lnTo>
                  <a:lnTo>
                    <a:pt x="10741" y="10741"/>
                  </a:lnTo>
                  <a:lnTo>
                    <a:pt x="11155" y="10303"/>
                  </a:lnTo>
                  <a:lnTo>
                    <a:pt x="11520" y="9816"/>
                  </a:lnTo>
                  <a:lnTo>
                    <a:pt x="11666" y="9572"/>
                  </a:lnTo>
                  <a:lnTo>
                    <a:pt x="11812" y="9304"/>
                  </a:lnTo>
                  <a:lnTo>
                    <a:pt x="11958" y="9036"/>
                  </a:lnTo>
                  <a:lnTo>
                    <a:pt x="12080" y="8744"/>
                  </a:lnTo>
                  <a:lnTo>
                    <a:pt x="12202" y="8476"/>
                  </a:lnTo>
                  <a:lnTo>
                    <a:pt x="12299" y="8184"/>
                  </a:lnTo>
                  <a:lnTo>
                    <a:pt x="12397" y="7867"/>
                  </a:lnTo>
                  <a:lnTo>
                    <a:pt x="12446" y="7575"/>
                  </a:lnTo>
                  <a:lnTo>
                    <a:pt x="12519" y="7258"/>
                  </a:lnTo>
                  <a:lnTo>
                    <a:pt x="12543" y="6942"/>
                  </a:lnTo>
                  <a:lnTo>
                    <a:pt x="12567" y="6625"/>
                  </a:lnTo>
                  <a:lnTo>
                    <a:pt x="12592" y="6308"/>
                  </a:lnTo>
                  <a:lnTo>
                    <a:pt x="12592" y="6308"/>
                  </a:lnTo>
                  <a:lnTo>
                    <a:pt x="12567" y="5968"/>
                  </a:lnTo>
                  <a:lnTo>
                    <a:pt x="12543" y="5651"/>
                  </a:lnTo>
                  <a:lnTo>
                    <a:pt x="12519" y="5334"/>
                  </a:lnTo>
                  <a:lnTo>
                    <a:pt x="12446" y="5042"/>
                  </a:lnTo>
                  <a:lnTo>
                    <a:pt x="12397" y="4725"/>
                  </a:lnTo>
                  <a:lnTo>
                    <a:pt x="12299" y="4433"/>
                  </a:lnTo>
                  <a:lnTo>
                    <a:pt x="12202" y="4141"/>
                  </a:lnTo>
                  <a:lnTo>
                    <a:pt x="12080" y="3849"/>
                  </a:lnTo>
                  <a:lnTo>
                    <a:pt x="11958" y="3581"/>
                  </a:lnTo>
                  <a:lnTo>
                    <a:pt x="11812" y="3313"/>
                  </a:lnTo>
                  <a:lnTo>
                    <a:pt x="11666" y="3045"/>
                  </a:lnTo>
                  <a:lnTo>
                    <a:pt x="11520" y="2777"/>
                  </a:lnTo>
                  <a:lnTo>
                    <a:pt x="11155" y="2290"/>
                  </a:lnTo>
                  <a:lnTo>
                    <a:pt x="10741" y="1852"/>
                  </a:lnTo>
                  <a:lnTo>
                    <a:pt x="10302" y="1437"/>
                  </a:lnTo>
                  <a:lnTo>
                    <a:pt x="9815" y="1072"/>
                  </a:lnTo>
                  <a:lnTo>
                    <a:pt x="9547" y="926"/>
                  </a:lnTo>
                  <a:lnTo>
                    <a:pt x="9279" y="780"/>
                  </a:lnTo>
                  <a:lnTo>
                    <a:pt x="9012" y="634"/>
                  </a:lnTo>
                  <a:lnTo>
                    <a:pt x="8744" y="512"/>
                  </a:lnTo>
                  <a:lnTo>
                    <a:pt x="8451" y="390"/>
                  </a:lnTo>
                  <a:lnTo>
                    <a:pt x="8159" y="293"/>
                  </a:lnTo>
                  <a:lnTo>
                    <a:pt x="7867" y="220"/>
                  </a:lnTo>
                  <a:lnTo>
                    <a:pt x="7550" y="147"/>
                  </a:lnTo>
                  <a:lnTo>
                    <a:pt x="7258" y="74"/>
                  </a:lnTo>
                  <a:lnTo>
                    <a:pt x="6941" y="49"/>
                  </a:lnTo>
                  <a:lnTo>
                    <a:pt x="6625" y="25"/>
                  </a:lnTo>
                  <a:lnTo>
                    <a:pt x="6284" y="1"/>
                  </a:lnTo>
                  <a:lnTo>
                    <a:pt x="6284" y="1"/>
                  </a:lnTo>
                  <a:close/>
                </a:path>
              </a:pathLst>
            </a:custGeom>
            <a:noFill/>
            <a:ln w="19050" cap="rnd" cmpd="sng">
              <a:solidFill>
                <a:srgbClr val="18476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" name="Google Shape;237;p7"/>
            <p:cNvSpPr/>
            <p:nvPr/>
          </p:nvSpPr>
          <p:spPr>
            <a:xfrm>
              <a:off x="3988375" y="3021875"/>
              <a:ext cx="241750" cy="241750"/>
            </a:xfrm>
            <a:custGeom>
              <a:avLst/>
              <a:gdLst/>
              <a:ahLst/>
              <a:cxnLst/>
              <a:rect l="l" t="t" r="r" b="b"/>
              <a:pathLst>
                <a:path w="9670" h="9670" fill="none" extrusionOk="0">
                  <a:moveTo>
                    <a:pt x="4823" y="1"/>
                  </a:moveTo>
                  <a:lnTo>
                    <a:pt x="4823" y="1"/>
                  </a:lnTo>
                  <a:lnTo>
                    <a:pt x="4336" y="25"/>
                  </a:lnTo>
                  <a:lnTo>
                    <a:pt x="3849" y="98"/>
                  </a:lnTo>
                  <a:lnTo>
                    <a:pt x="3386" y="220"/>
                  </a:lnTo>
                  <a:lnTo>
                    <a:pt x="2947" y="391"/>
                  </a:lnTo>
                  <a:lnTo>
                    <a:pt x="2533" y="585"/>
                  </a:lnTo>
                  <a:lnTo>
                    <a:pt x="2144" y="829"/>
                  </a:lnTo>
                  <a:lnTo>
                    <a:pt x="1754" y="1121"/>
                  </a:lnTo>
                  <a:lnTo>
                    <a:pt x="1413" y="1438"/>
                  </a:lnTo>
                  <a:lnTo>
                    <a:pt x="1096" y="1779"/>
                  </a:lnTo>
                  <a:lnTo>
                    <a:pt x="829" y="2144"/>
                  </a:lnTo>
                  <a:lnTo>
                    <a:pt x="585" y="2534"/>
                  </a:lnTo>
                  <a:lnTo>
                    <a:pt x="390" y="2972"/>
                  </a:lnTo>
                  <a:lnTo>
                    <a:pt x="220" y="3411"/>
                  </a:lnTo>
                  <a:lnTo>
                    <a:pt x="98" y="3873"/>
                  </a:lnTo>
                  <a:lnTo>
                    <a:pt x="25" y="4336"/>
                  </a:lnTo>
                  <a:lnTo>
                    <a:pt x="1" y="4847"/>
                  </a:lnTo>
                  <a:lnTo>
                    <a:pt x="1" y="4847"/>
                  </a:lnTo>
                  <a:lnTo>
                    <a:pt x="25" y="5335"/>
                  </a:lnTo>
                  <a:lnTo>
                    <a:pt x="98" y="5822"/>
                  </a:lnTo>
                  <a:lnTo>
                    <a:pt x="220" y="6284"/>
                  </a:lnTo>
                  <a:lnTo>
                    <a:pt x="390" y="6723"/>
                  </a:lnTo>
                  <a:lnTo>
                    <a:pt x="585" y="7137"/>
                  </a:lnTo>
                  <a:lnTo>
                    <a:pt x="829" y="7527"/>
                  </a:lnTo>
                  <a:lnTo>
                    <a:pt x="1096" y="7916"/>
                  </a:lnTo>
                  <a:lnTo>
                    <a:pt x="1413" y="8257"/>
                  </a:lnTo>
                  <a:lnTo>
                    <a:pt x="1754" y="8574"/>
                  </a:lnTo>
                  <a:lnTo>
                    <a:pt x="2144" y="8842"/>
                  </a:lnTo>
                  <a:lnTo>
                    <a:pt x="2533" y="9085"/>
                  </a:lnTo>
                  <a:lnTo>
                    <a:pt x="2947" y="9280"/>
                  </a:lnTo>
                  <a:lnTo>
                    <a:pt x="3386" y="9451"/>
                  </a:lnTo>
                  <a:lnTo>
                    <a:pt x="3849" y="9572"/>
                  </a:lnTo>
                  <a:lnTo>
                    <a:pt x="4336" y="9645"/>
                  </a:lnTo>
                  <a:lnTo>
                    <a:pt x="4823" y="9670"/>
                  </a:lnTo>
                  <a:lnTo>
                    <a:pt x="4823" y="9670"/>
                  </a:lnTo>
                  <a:lnTo>
                    <a:pt x="5334" y="9645"/>
                  </a:lnTo>
                  <a:lnTo>
                    <a:pt x="5797" y="9572"/>
                  </a:lnTo>
                  <a:lnTo>
                    <a:pt x="6260" y="9451"/>
                  </a:lnTo>
                  <a:lnTo>
                    <a:pt x="6698" y="9280"/>
                  </a:lnTo>
                  <a:lnTo>
                    <a:pt x="7136" y="9085"/>
                  </a:lnTo>
                  <a:lnTo>
                    <a:pt x="7526" y="8842"/>
                  </a:lnTo>
                  <a:lnTo>
                    <a:pt x="7892" y="8574"/>
                  </a:lnTo>
                  <a:lnTo>
                    <a:pt x="8232" y="8257"/>
                  </a:lnTo>
                  <a:lnTo>
                    <a:pt x="8549" y="7916"/>
                  </a:lnTo>
                  <a:lnTo>
                    <a:pt x="8841" y="7527"/>
                  </a:lnTo>
                  <a:lnTo>
                    <a:pt x="9085" y="7137"/>
                  </a:lnTo>
                  <a:lnTo>
                    <a:pt x="9280" y="6723"/>
                  </a:lnTo>
                  <a:lnTo>
                    <a:pt x="9450" y="6284"/>
                  </a:lnTo>
                  <a:lnTo>
                    <a:pt x="9572" y="5822"/>
                  </a:lnTo>
                  <a:lnTo>
                    <a:pt x="9645" y="5335"/>
                  </a:lnTo>
                  <a:lnTo>
                    <a:pt x="9669" y="4847"/>
                  </a:lnTo>
                  <a:lnTo>
                    <a:pt x="9669" y="4847"/>
                  </a:lnTo>
                  <a:lnTo>
                    <a:pt x="9645" y="4336"/>
                  </a:lnTo>
                  <a:lnTo>
                    <a:pt x="9572" y="3873"/>
                  </a:lnTo>
                  <a:lnTo>
                    <a:pt x="9450" y="3411"/>
                  </a:lnTo>
                  <a:lnTo>
                    <a:pt x="9280" y="2972"/>
                  </a:lnTo>
                  <a:lnTo>
                    <a:pt x="9085" y="2534"/>
                  </a:lnTo>
                  <a:lnTo>
                    <a:pt x="8841" y="2144"/>
                  </a:lnTo>
                  <a:lnTo>
                    <a:pt x="8549" y="1779"/>
                  </a:lnTo>
                  <a:lnTo>
                    <a:pt x="8232" y="1438"/>
                  </a:lnTo>
                  <a:lnTo>
                    <a:pt x="7892" y="1121"/>
                  </a:lnTo>
                  <a:lnTo>
                    <a:pt x="7526" y="829"/>
                  </a:lnTo>
                  <a:lnTo>
                    <a:pt x="7136" y="585"/>
                  </a:lnTo>
                  <a:lnTo>
                    <a:pt x="6698" y="391"/>
                  </a:lnTo>
                  <a:lnTo>
                    <a:pt x="6260" y="220"/>
                  </a:lnTo>
                  <a:lnTo>
                    <a:pt x="5797" y="98"/>
                  </a:lnTo>
                  <a:lnTo>
                    <a:pt x="5334" y="25"/>
                  </a:lnTo>
                  <a:lnTo>
                    <a:pt x="4823" y="1"/>
                  </a:lnTo>
                  <a:lnTo>
                    <a:pt x="4823" y="1"/>
                  </a:lnTo>
                </a:path>
              </a:pathLst>
            </a:custGeom>
            <a:noFill/>
            <a:ln w="19050" cap="rnd" cmpd="sng">
              <a:solidFill>
                <a:srgbClr val="18476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" name="Google Shape;238;p7"/>
            <p:cNvSpPr/>
            <p:nvPr/>
          </p:nvSpPr>
          <p:spPr>
            <a:xfrm>
              <a:off x="4024300" y="3058425"/>
              <a:ext cx="84650" cy="84650"/>
            </a:xfrm>
            <a:custGeom>
              <a:avLst/>
              <a:gdLst/>
              <a:ahLst/>
              <a:cxnLst/>
              <a:rect l="l" t="t" r="r" b="b"/>
              <a:pathLst>
                <a:path w="3386" h="3386" fill="none" extrusionOk="0">
                  <a:moveTo>
                    <a:pt x="0" y="3385"/>
                  </a:moveTo>
                  <a:lnTo>
                    <a:pt x="0" y="3385"/>
                  </a:lnTo>
                  <a:lnTo>
                    <a:pt x="25" y="3020"/>
                  </a:lnTo>
                  <a:lnTo>
                    <a:pt x="74" y="2704"/>
                  </a:lnTo>
                  <a:lnTo>
                    <a:pt x="147" y="2363"/>
                  </a:lnTo>
                  <a:lnTo>
                    <a:pt x="268" y="2070"/>
                  </a:lnTo>
                  <a:lnTo>
                    <a:pt x="414" y="1754"/>
                  </a:lnTo>
                  <a:lnTo>
                    <a:pt x="585" y="1486"/>
                  </a:lnTo>
                  <a:lnTo>
                    <a:pt x="780" y="1218"/>
                  </a:lnTo>
                  <a:lnTo>
                    <a:pt x="999" y="974"/>
                  </a:lnTo>
                  <a:lnTo>
                    <a:pt x="1243" y="755"/>
                  </a:lnTo>
                  <a:lnTo>
                    <a:pt x="1510" y="560"/>
                  </a:lnTo>
                  <a:lnTo>
                    <a:pt x="1778" y="390"/>
                  </a:lnTo>
                  <a:lnTo>
                    <a:pt x="2071" y="244"/>
                  </a:lnTo>
                  <a:lnTo>
                    <a:pt x="2387" y="146"/>
                  </a:lnTo>
                  <a:lnTo>
                    <a:pt x="2704" y="49"/>
                  </a:lnTo>
                  <a:lnTo>
                    <a:pt x="3045" y="0"/>
                  </a:lnTo>
                  <a:lnTo>
                    <a:pt x="3386" y="0"/>
                  </a:lnTo>
                </a:path>
              </a:pathLst>
            </a:custGeom>
            <a:noFill/>
            <a:ln w="19050" cap="rnd" cmpd="sng">
              <a:solidFill>
                <a:srgbClr val="18476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" name="Google Shape;239;p7"/>
            <p:cNvSpPr/>
            <p:nvPr/>
          </p:nvSpPr>
          <p:spPr>
            <a:xfrm>
              <a:off x="4205750" y="3248375"/>
              <a:ext cx="154050" cy="153475"/>
            </a:xfrm>
            <a:custGeom>
              <a:avLst/>
              <a:gdLst/>
              <a:ahLst/>
              <a:cxnLst/>
              <a:rect l="l" t="t" r="r" b="b"/>
              <a:pathLst>
                <a:path w="6162" h="6139" fill="none" extrusionOk="0">
                  <a:moveTo>
                    <a:pt x="0" y="1024"/>
                  </a:moveTo>
                  <a:lnTo>
                    <a:pt x="4969" y="5992"/>
                  </a:lnTo>
                  <a:lnTo>
                    <a:pt x="4969" y="5992"/>
                  </a:lnTo>
                  <a:lnTo>
                    <a:pt x="5042" y="6041"/>
                  </a:lnTo>
                  <a:lnTo>
                    <a:pt x="5115" y="6090"/>
                  </a:lnTo>
                  <a:lnTo>
                    <a:pt x="5212" y="6114"/>
                  </a:lnTo>
                  <a:lnTo>
                    <a:pt x="5310" y="6138"/>
                  </a:lnTo>
                  <a:lnTo>
                    <a:pt x="5407" y="6114"/>
                  </a:lnTo>
                  <a:lnTo>
                    <a:pt x="5480" y="6090"/>
                  </a:lnTo>
                  <a:lnTo>
                    <a:pt x="5577" y="6041"/>
                  </a:lnTo>
                  <a:lnTo>
                    <a:pt x="5651" y="5992"/>
                  </a:lnTo>
                  <a:lnTo>
                    <a:pt x="6016" y="5627"/>
                  </a:lnTo>
                  <a:lnTo>
                    <a:pt x="6016" y="5627"/>
                  </a:lnTo>
                  <a:lnTo>
                    <a:pt x="6089" y="5554"/>
                  </a:lnTo>
                  <a:lnTo>
                    <a:pt x="6138" y="5456"/>
                  </a:lnTo>
                  <a:lnTo>
                    <a:pt x="6162" y="5359"/>
                  </a:lnTo>
                  <a:lnTo>
                    <a:pt x="6162" y="5286"/>
                  </a:lnTo>
                  <a:lnTo>
                    <a:pt x="6162" y="5188"/>
                  </a:lnTo>
                  <a:lnTo>
                    <a:pt x="6138" y="5091"/>
                  </a:lnTo>
                  <a:lnTo>
                    <a:pt x="6089" y="5018"/>
                  </a:lnTo>
                  <a:lnTo>
                    <a:pt x="6016" y="4921"/>
                  </a:lnTo>
                  <a:lnTo>
                    <a:pt x="1072" y="1"/>
                  </a:lnTo>
                </a:path>
              </a:pathLst>
            </a:custGeom>
            <a:noFill/>
            <a:ln w="19050" cap="rnd" cmpd="sng">
              <a:solidFill>
                <a:srgbClr val="18476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40" name="Google Shape;240;p7"/>
          <p:cNvSpPr txBox="1">
            <a:spLocks noGrp="1"/>
          </p:cNvSpPr>
          <p:nvPr>
            <p:ph type="sldNum" idx="12"/>
          </p:nvPr>
        </p:nvSpPr>
        <p:spPr>
          <a:xfrm>
            <a:off x="13557" y="4785525"/>
            <a:ext cx="548700" cy="357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2" name="DataClassificationLabel"/>
          <p:cNvSpPr txBox="1"/>
          <p:nvPr userDrawn="1"/>
        </p:nvSpPr>
        <p:spPr>
          <a:xfrm>
            <a:off x="6096000" y="4914900"/>
            <a:ext cx="2540000" cy="169277"/>
          </a:xfrm>
          <a:prstGeom prst="rect">
            <a:avLst/>
          </a:prstGeom>
          <a:noFill/>
        </p:spPr>
        <p:txBody>
          <a:bodyPr vert="horz" rIns="0" bIns="0" rtlCol="0">
            <a:spAutoFit/>
          </a:bodyPr>
          <a:lstStyle/>
          <a:p>
            <a:pPr algn="r"/>
            <a:endParaRPr lang="pt-BR" sz="800" b="0">
              <a:latin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p10"/>
          <p:cNvSpPr/>
          <p:nvPr/>
        </p:nvSpPr>
        <p:spPr>
          <a:xfrm rot="10800000" flipH="1">
            <a:off x="8218352" y="4121459"/>
            <a:ext cx="685200" cy="5934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30000" y="0"/>
                </a:moveTo>
                <a:lnTo>
                  <a:pt x="0" y="59994"/>
                </a:lnTo>
                <a:lnTo>
                  <a:pt x="30000" y="120000"/>
                </a:lnTo>
                <a:lnTo>
                  <a:pt x="90000" y="120000"/>
                </a:lnTo>
                <a:lnTo>
                  <a:pt x="120000" y="59994"/>
                </a:lnTo>
                <a:lnTo>
                  <a:pt x="90000" y="0"/>
                </a:lnTo>
                <a:lnTo>
                  <a:pt x="30000" y="0"/>
                </a:lnTo>
                <a:close/>
                <a:moveTo>
                  <a:pt x="38477" y="16950"/>
                </a:moveTo>
                <a:lnTo>
                  <a:pt x="81522" y="16950"/>
                </a:lnTo>
                <a:lnTo>
                  <a:pt x="103033" y="59994"/>
                </a:lnTo>
                <a:lnTo>
                  <a:pt x="81522" y="103038"/>
                </a:lnTo>
                <a:lnTo>
                  <a:pt x="38477" y="103038"/>
                </a:lnTo>
                <a:lnTo>
                  <a:pt x="16955" y="59994"/>
                </a:lnTo>
                <a:lnTo>
                  <a:pt x="38477" y="16950"/>
                </a:lnTo>
                <a:close/>
              </a:path>
            </a:pathLst>
          </a:custGeom>
          <a:gradFill>
            <a:gsLst>
              <a:gs pos="0">
                <a:srgbClr val="3393E2"/>
              </a:gs>
              <a:gs pos="100000">
                <a:srgbClr val="00E2C7"/>
              </a:gs>
            </a:gsLst>
            <a:lin ang="6983783" scaled="0"/>
          </a:gradFill>
          <a:ln>
            <a:noFill/>
          </a:ln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Helvetica Neue"/>
              <a:buNone/>
            </a:pPr>
            <a:endParaRPr sz="3200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23" name="Google Shape;323;p10"/>
          <p:cNvSpPr/>
          <p:nvPr/>
        </p:nvSpPr>
        <p:spPr>
          <a:xfrm rot="5400000">
            <a:off x="388487" y="105212"/>
            <a:ext cx="944100" cy="10902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60000" y="0"/>
                </a:moveTo>
                <a:lnTo>
                  <a:pt x="120000" y="30000"/>
                </a:lnTo>
                <a:lnTo>
                  <a:pt x="120000" y="90000"/>
                </a:lnTo>
                <a:lnTo>
                  <a:pt x="60000" y="120000"/>
                </a:lnTo>
                <a:lnTo>
                  <a:pt x="0" y="90000"/>
                </a:lnTo>
                <a:lnTo>
                  <a:pt x="0" y="30000"/>
                </a:lnTo>
                <a:close/>
              </a:path>
            </a:pathLst>
          </a:custGeom>
          <a:gradFill>
            <a:gsLst>
              <a:gs pos="0">
                <a:srgbClr val="3393E2"/>
              </a:gs>
              <a:gs pos="100000">
                <a:srgbClr val="00E2C7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Helvetica Neue"/>
              <a:buNone/>
            </a:pPr>
            <a:endParaRPr sz="3200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24" name="Google Shape;324;p10"/>
          <p:cNvSpPr/>
          <p:nvPr/>
        </p:nvSpPr>
        <p:spPr>
          <a:xfrm rot="10800000" flipH="1">
            <a:off x="-123825" y="847791"/>
            <a:ext cx="674400" cy="584400"/>
          </a:xfrm>
          <a:prstGeom prst="hexagon">
            <a:avLst>
              <a:gd name="adj" fmla="val 28678"/>
              <a:gd name="vf" fmla="val 115470"/>
            </a:avLst>
          </a:prstGeom>
          <a:noFill/>
          <a:ln w="9525" cap="flat" cmpd="sng">
            <a:solidFill>
              <a:srgbClr val="19BBD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5" name="Google Shape;325;p10"/>
          <p:cNvSpPr/>
          <p:nvPr/>
        </p:nvSpPr>
        <p:spPr>
          <a:xfrm rot="10800000" flipH="1">
            <a:off x="503116" y="1161450"/>
            <a:ext cx="352800" cy="305400"/>
          </a:xfrm>
          <a:prstGeom prst="hexagon">
            <a:avLst>
              <a:gd name="adj" fmla="val 28678"/>
              <a:gd name="vf" fmla="val 115470"/>
            </a:avLst>
          </a:prstGeom>
          <a:solidFill>
            <a:srgbClr val="18476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6" name="Google Shape;326;p10"/>
          <p:cNvSpPr/>
          <p:nvPr/>
        </p:nvSpPr>
        <p:spPr>
          <a:xfrm rot="10800000" flipH="1">
            <a:off x="1208424" y="-131812"/>
            <a:ext cx="674400" cy="584400"/>
          </a:xfrm>
          <a:prstGeom prst="hexagon">
            <a:avLst>
              <a:gd name="adj" fmla="val 28678"/>
              <a:gd name="vf" fmla="val 115470"/>
            </a:avLst>
          </a:prstGeom>
          <a:noFill/>
          <a:ln w="76200" cap="flat" cmpd="sng">
            <a:solidFill>
              <a:srgbClr val="184769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7" name="Google Shape;327;p10"/>
          <p:cNvSpPr/>
          <p:nvPr/>
        </p:nvSpPr>
        <p:spPr>
          <a:xfrm rot="10800000" flipH="1">
            <a:off x="247753" y="49693"/>
            <a:ext cx="295200" cy="255600"/>
          </a:xfrm>
          <a:prstGeom prst="hexagon">
            <a:avLst>
              <a:gd name="adj" fmla="val 28678"/>
              <a:gd name="vf" fmla="val 115470"/>
            </a:avLst>
          </a:prstGeom>
          <a:solidFill>
            <a:srgbClr val="00E1C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8" name="Google Shape;328;p10"/>
          <p:cNvSpPr/>
          <p:nvPr/>
        </p:nvSpPr>
        <p:spPr>
          <a:xfrm rot="10800000" flipH="1">
            <a:off x="8763568" y="4485979"/>
            <a:ext cx="543000" cy="470400"/>
          </a:xfrm>
          <a:prstGeom prst="hexagon">
            <a:avLst>
              <a:gd name="adj" fmla="val 28678"/>
              <a:gd name="vf" fmla="val 115470"/>
            </a:avLst>
          </a:prstGeom>
          <a:noFill/>
          <a:ln w="9525" cap="flat" cmpd="sng">
            <a:solidFill>
              <a:srgbClr val="18476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9" name="Google Shape;329;p10"/>
          <p:cNvSpPr/>
          <p:nvPr/>
        </p:nvSpPr>
        <p:spPr>
          <a:xfrm rot="10800000" flipH="1">
            <a:off x="8523810" y="4741100"/>
            <a:ext cx="284100" cy="245700"/>
          </a:xfrm>
          <a:prstGeom prst="hexagon">
            <a:avLst>
              <a:gd name="adj" fmla="val 28678"/>
              <a:gd name="vf" fmla="val 115470"/>
            </a:avLst>
          </a:prstGeom>
          <a:solidFill>
            <a:srgbClr val="3292E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0" name="Google Shape;330;p10"/>
          <p:cNvSpPr/>
          <p:nvPr/>
        </p:nvSpPr>
        <p:spPr>
          <a:xfrm rot="10800000" flipH="1">
            <a:off x="8322785" y="3628023"/>
            <a:ext cx="543000" cy="470100"/>
          </a:xfrm>
          <a:prstGeom prst="hexagon">
            <a:avLst>
              <a:gd name="adj" fmla="val 28678"/>
              <a:gd name="vf" fmla="val 115470"/>
            </a:avLst>
          </a:prstGeom>
          <a:solidFill>
            <a:srgbClr val="18476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1" name="Google Shape;331;p10"/>
          <p:cNvSpPr/>
          <p:nvPr/>
        </p:nvSpPr>
        <p:spPr>
          <a:xfrm rot="10800000" flipH="1">
            <a:off x="8763569" y="4009882"/>
            <a:ext cx="237600" cy="205800"/>
          </a:xfrm>
          <a:prstGeom prst="hexagon">
            <a:avLst>
              <a:gd name="adj" fmla="val 28678"/>
              <a:gd name="vf" fmla="val 115470"/>
            </a:avLst>
          </a:prstGeom>
          <a:noFill/>
          <a:ln w="19050" cap="flat" cmpd="sng">
            <a:solidFill>
              <a:srgbClr val="00E1C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2" name="Google Shape;332;p10"/>
          <p:cNvSpPr txBox="1">
            <a:spLocks noGrp="1"/>
          </p:cNvSpPr>
          <p:nvPr>
            <p:ph type="sldNum" idx="12"/>
          </p:nvPr>
        </p:nvSpPr>
        <p:spPr>
          <a:xfrm>
            <a:off x="13557" y="4785525"/>
            <a:ext cx="548700" cy="357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2" name="DataClassificationLabel"/>
          <p:cNvSpPr txBox="1"/>
          <p:nvPr userDrawn="1"/>
        </p:nvSpPr>
        <p:spPr>
          <a:xfrm>
            <a:off x="6096000" y="4914900"/>
            <a:ext cx="2540000" cy="169277"/>
          </a:xfrm>
          <a:prstGeom prst="rect">
            <a:avLst/>
          </a:prstGeom>
          <a:noFill/>
        </p:spPr>
        <p:txBody>
          <a:bodyPr vert="horz" rIns="0" bIns="0" rtlCol="0">
            <a:spAutoFit/>
          </a:bodyPr>
          <a:lstStyle/>
          <a:p>
            <a:pPr algn="r"/>
            <a:endParaRPr lang="pt-BR" sz="800" b="0">
              <a:latin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39"/>
          <p:cNvSpPr txBox="1"/>
          <p:nvPr userDrawn="1"/>
        </p:nvSpPr>
        <p:spPr>
          <a:xfrm>
            <a:off x="-3230479" y="1220030"/>
            <a:ext cx="2580773" cy="11080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en-US" sz="2100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TÍTULO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en-US" sz="2100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SIMPLON BP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en-US" sz="2100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MEDIUM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en-US" sz="2100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28pt</a:t>
            </a:r>
          </a:p>
        </p:txBody>
      </p:sp>
      <p:sp>
        <p:nvSpPr>
          <p:cNvPr id="15" name="TextBox 40"/>
          <p:cNvSpPr txBox="1"/>
          <p:nvPr userDrawn="1"/>
        </p:nvSpPr>
        <p:spPr>
          <a:xfrm>
            <a:off x="-3230479" y="2923671"/>
            <a:ext cx="2580773" cy="16062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en-US" sz="1350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en-US" sz="1350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IMPLON REGULAR 18</a:t>
            </a:r>
            <a:r>
              <a:rPr lang="en-US" sz="1350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p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endParaRPr lang="en-US" sz="1350" i="0" baseline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</a:pPr>
            <a:r>
              <a:rPr lang="en-US" sz="1350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OBS: MANTER ESPAÇAMENTO O6pt</a:t>
            </a:r>
            <a:endParaRPr lang="en-US" sz="1350" i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</p:txBody>
      </p:sp>
      <p:sp>
        <p:nvSpPr>
          <p:cNvPr id="12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7096991" y="4838483"/>
            <a:ext cx="2057400" cy="273844"/>
          </a:xfrm>
          <a:prstGeom prst="rect">
            <a:avLst/>
          </a:prstGeom>
        </p:spPr>
        <p:txBody>
          <a:bodyPr/>
          <a:lstStyle>
            <a:lvl1pPr algn="r">
              <a:defRPr sz="1350">
                <a:solidFill>
                  <a:schemeClr val="bg1"/>
                </a:solidFill>
                <a:latin typeface="Simplon BP Regular" pitchFamily="2" charset="0"/>
              </a:defRPr>
            </a:lvl1pPr>
          </a:lstStyle>
          <a:p>
            <a:fld id="{BC7BA7F7-9ECA-4650-BA2A-F44574574266}" type="slidenum">
              <a:rPr lang="pt-BR" smtClean="0"/>
              <a:pPr/>
              <a:t>‹#›</a:t>
            </a:fld>
            <a:endParaRPr lang="pt-BR" dirty="0"/>
          </a:p>
        </p:txBody>
      </p:sp>
      <p:sp>
        <p:nvSpPr>
          <p:cNvPr id="2" name="DataClassificationLabel"/>
          <p:cNvSpPr txBox="1"/>
          <p:nvPr userDrawn="1"/>
        </p:nvSpPr>
        <p:spPr>
          <a:xfrm>
            <a:off x="6096000" y="4914900"/>
            <a:ext cx="2540000" cy="169277"/>
          </a:xfrm>
          <a:prstGeom prst="rect">
            <a:avLst/>
          </a:prstGeom>
          <a:noFill/>
        </p:spPr>
        <p:txBody>
          <a:bodyPr vert="horz" rIns="0" bIns="0" rtlCol="0">
            <a:spAutoFit/>
          </a:bodyPr>
          <a:lstStyle/>
          <a:p>
            <a:pPr algn="r"/>
            <a:endParaRPr lang="pt-BR" sz="800" b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96402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solidFill>
          <a:srgbClr val="0E293C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1732700" y="1735600"/>
            <a:ext cx="4944300" cy="64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lvl="0"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4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4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4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4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4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4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4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4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4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1732700" y="2255125"/>
            <a:ext cx="4944300" cy="1659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317500">
              <a:spcBef>
                <a:spcPts val="600"/>
              </a:spcBef>
              <a:spcAft>
                <a:spcPts val="0"/>
              </a:spcAft>
              <a:buClr>
                <a:srgbClr val="19BBD5"/>
              </a:buClr>
              <a:buSzPts val="1400"/>
              <a:buFont typeface="Muli"/>
              <a:buChar char="◇"/>
              <a:defRPr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1400"/>
              <a:buFont typeface="Muli"/>
              <a:buChar char="￭"/>
              <a:defRPr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1400"/>
              <a:buFont typeface="Muli"/>
              <a:buChar char="￮"/>
              <a:defRPr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1400"/>
              <a:buFont typeface="Muli"/>
              <a:buChar char="●"/>
              <a:defRPr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1400"/>
              <a:buFont typeface="Muli"/>
              <a:buChar char="○"/>
              <a:defRPr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Clr>
                <a:srgbClr val="C6DAEC"/>
              </a:buClr>
              <a:buSzPts val="1400"/>
              <a:buFont typeface="Muli"/>
              <a:buChar char="■"/>
              <a:defRPr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Clr>
                <a:srgbClr val="C6DAEC"/>
              </a:buClr>
              <a:buSzPts val="1400"/>
              <a:buFont typeface="Muli"/>
              <a:buChar char="●"/>
              <a:defRPr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Clr>
                <a:srgbClr val="C6DAEC"/>
              </a:buClr>
              <a:buSzPts val="1400"/>
              <a:buFont typeface="Muli"/>
              <a:buChar char="○"/>
              <a:defRPr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Clr>
                <a:srgbClr val="C6DAEC"/>
              </a:buClr>
              <a:buSzPts val="1400"/>
              <a:buFont typeface="Muli"/>
              <a:buChar char="■"/>
              <a:defRPr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3557" y="4785525"/>
            <a:ext cx="548700" cy="35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 sz="12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1pPr>
            <a:lvl2pPr lvl="1">
              <a:buNone/>
              <a:defRPr sz="12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2pPr>
            <a:lvl3pPr lvl="2">
              <a:buNone/>
              <a:defRPr sz="12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3pPr>
            <a:lvl4pPr lvl="3">
              <a:buNone/>
              <a:defRPr sz="12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4pPr>
            <a:lvl5pPr lvl="4">
              <a:buNone/>
              <a:defRPr sz="12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5pPr>
            <a:lvl6pPr lvl="5">
              <a:buNone/>
              <a:defRPr sz="12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6pPr>
            <a:lvl7pPr lvl="6">
              <a:buNone/>
              <a:defRPr sz="12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7pPr>
            <a:lvl8pPr lvl="7">
              <a:buNone/>
              <a:defRPr sz="12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8pPr>
            <a:lvl9pPr lvl="8">
              <a:buNone/>
              <a:defRPr sz="12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3" r:id="rId2"/>
    <p:sldLayoutId id="2147483656" r:id="rId3"/>
    <p:sldLayoutId id="2147483658" r:id="rId4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1186" y="-176270"/>
            <a:ext cx="9441456" cy="5415619"/>
          </a:xfrm>
          <a:prstGeom prst="rect">
            <a:avLst/>
          </a:prstGeom>
        </p:spPr>
      </p:pic>
      <p:pic>
        <p:nvPicPr>
          <p:cNvPr id="3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6908"/>
            <a:ext cx="3260223" cy="5035981"/>
          </a:xfrm>
          <a:prstGeom prst="rect">
            <a:avLst/>
          </a:prstGeom>
        </p:spPr>
      </p:pic>
      <p:pic>
        <p:nvPicPr>
          <p:cNvPr id="4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7060" y="-130378"/>
            <a:ext cx="3433210" cy="4526985"/>
          </a:xfrm>
          <a:prstGeom prst="rect">
            <a:avLst/>
          </a:prstGeom>
        </p:spPr>
      </p:pic>
      <p:pic>
        <p:nvPicPr>
          <p:cNvPr id="5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18055"/>
            <a:ext cx="2661047" cy="2824834"/>
          </a:xfrm>
          <a:prstGeom prst="rect">
            <a:avLst/>
          </a:prstGeom>
        </p:spPr>
      </p:pic>
      <p:sp>
        <p:nvSpPr>
          <p:cNvPr id="7" name="object 1"/>
          <p:cNvSpPr/>
          <p:nvPr/>
        </p:nvSpPr>
        <p:spPr>
          <a:xfrm>
            <a:off x="2061871" y="2469403"/>
            <a:ext cx="752598" cy="1701121"/>
          </a:xfrm>
          <a:custGeom>
            <a:avLst/>
            <a:gdLst/>
            <a:ahLst/>
            <a:cxnLst/>
            <a:rect l="l" t="t" r="r" b="b"/>
            <a:pathLst>
              <a:path w="1106423" h="2500884">
                <a:moveTo>
                  <a:pt x="1106423" y="2491360"/>
                </a:moveTo>
                <a:lnTo>
                  <a:pt x="39243" y="0"/>
                </a:lnTo>
                <a:lnTo>
                  <a:pt x="0" y="9525"/>
                </a:lnTo>
                <a:lnTo>
                  <a:pt x="1067181" y="2500885"/>
                </a:lnTo>
                <a:lnTo>
                  <a:pt x="1106423" y="2491360"/>
                </a:lnTo>
                <a:close/>
              </a:path>
            </a:pathLst>
          </a:custGeom>
          <a:solidFill>
            <a:srgbClr val="32B9CD"/>
          </a:solidFill>
        </p:spPr>
        <p:txBody>
          <a:bodyPr wrap="square" lIns="0" tIns="0" rIns="0" bIns="0" rtlCol="0">
            <a:noAutofit/>
          </a:bodyPr>
          <a:lstStyle/>
          <a:p>
            <a:endParaRPr sz="952"/>
          </a:p>
        </p:txBody>
      </p:sp>
      <p:sp>
        <p:nvSpPr>
          <p:cNvPr id="8" name="object 2"/>
          <p:cNvSpPr/>
          <p:nvPr/>
        </p:nvSpPr>
        <p:spPr>
          <a:xfrm>
            <a:off x="6024933" y="719562"/>
            <a:ext cx="748452" cy="1691790"/>
          </a:xfrm>
          <a:custGeom>
            <a:avLst/>
            <a:gdLst/>
            <a:ahLst/>
            <a:cxnLst/>
            <a:rect l="l" t="t" r="r" b="b"/>
            <a:pathLst>
              <a:path w="1100328" h="2487167">
                <a:moveTo>
                  <a:pt x="1100328" y="2478151"/>
                </a:moveTo>
                <a:lnTo>
                  <a:pt x="39243" y="0"/>
                </a:lnTo>
                <a:lnTo>
                  <a:pt x="0" y="9525"/>
                </a:lnTo>
                <a:lnTo>
                  <a:pt x="1061720" y="2487167"/>
                </a:lnTo>
                <a:lnTo>
                  <a:pt x="1100328" y="2478151"/>
                </a:lnTo>
                <a:close/>
              </a:path>
            </a:pathLst>
          </a:custGeom>
          <a:solidFill>
            <a:srgbClr val="32B9CD"/>
          </a:solidFill>
        </p:spPr>
        <p:txBody>
          <a:bodyPr wrap="square" lIns="0" tIns="0" rIns="0" bIns="0" rtlCol="0">
            <a:noAutofit/>
          </a:bodyPr>
          <a:lstStyle/>
          <a:p>
            <a:endParaRPr sz="952"/>
          </a:p>
        </p:txBody>
      </p:sp>
      <p:pic>
        <p:nvPicPr>
          <p:cNvPr id="6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0581" y="2034016"/>
            <a:ext cx="2941975" cy="109676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46;p12">
            <a:extLst>
              <a:ext uri="{FF2B5EF4-FFF2-40B4-BE49-F238E27FC236}">
                <a16:creationId xmlns:a16="http://schemas.microsoft.com/office/drawing/2014/main" id="{A5961D8A-DC70-4538-A7CE-17C380B17727}"/>
              </a:ext>
            </a:extLst>
          </p:cNvPr>
          <p:cNvSpPr txBox="1">
            <a:spLocks/>
          </p:cNvSpPr>
          <p:nvPr/>
        </p:nvSpPr>
        <p:spPr>
          <a:xfrm>
            <a:off x="8749933" y="4785600"/>
            <a:ext cx="548700" cy="357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>
                <a:solidFill>
                  <a:schemeClr val="accent1"/>
                </a:solidFill>
                <a:latin typeface="Nixie One" panose="020B0604020202020204" charset="0"/>
              </a:rPr>
              <a:pPr/>
              <a:t>10</a:t>
            </a:fld>
            <a:endParaRPr lang="en" dirty="0">
              <a:solidFill>
                <a:schemeClr val="accent1"/>
              </a:solidFill>
              <a:latin typeface="Nixie One" panose="020B0604020202020204" charset="0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680D6A96-95D8-49E3-90C7-6EB261CA8F2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785" r="1012" b="2136"/>
          <a:stretch/>
        </p:blipFill>
        <p:spPr>
          <a:xfrm>
            <a:off x="1410160" y="45621"/>
            <a:ext cx="5618602" cy="2940026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1186EAF4-044B-4A08-863D-BEE16A648E9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503" r="1012" b="-2732"/>
          <a:stretch/>
        </p:blipFill>
        <p:spPr>
          <a:xfrm>
            <a:off x="1410160" y="2982271"/>
            <a:ext cx="5618602" cy="2161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08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" name="Google Shape;346;p12"/>
          <p:cNvSpPr txBox="1">
            <a:spLocks noGrp="1"/>
          </p:cNvSpPr>
          <p:nvPr>
            <p:ph type="sldNum" idx="12"/>
          </p:nvPr>
        </p:nvSpPr>
        <p:spPr>
          <a:xfrm>
            <a:off x="8595300" y="4743617"/>
            <a:ext cx="548700" cy="357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1</a:t>
            </a:fld>
            <a:endParaRPr dirty="0"/>
          </a:p>
        </p:txBody>
      </p:sp>
      <p:sp>
        <p:nvSpPr>
          <p:cNvPr id="11" name="Google Shape;359;p14">
            <a:extLst>
              <a:ext uri="{FF2B5EF4-FFF2-40B4-BE49-F238E27FC236}">
                <a16:creationId xmlns:a16="http://schemas.microsoft.com/office/drawing/2014/main" id="{39AA2031-37A5-4A83-8B53-C81F766EE7DE}"/>
              </a:ext>
            </a:extLst>
          </p:cNvPr>
          <p:cNvSpPr txBox="1">
            <a:spLocks/>
          </p:cNvSpPr>
          <p:nvPr/>
        </p:nvSpPr>
        <p:spPr>
          <a:xfrm>
            <a:off x="0" y="2289254"/>
            <a:ext cx="9144000" cy="564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9pPr>
          </a:lstStyle>
          <a:p>
            <a:pPr algn="ctr"/>
            <a:r>
              <a:rPr lang="en-US" b="1" dirty="0" err="1"/>
              <a:t>Requisitos</a:t>
            </a:r>
            <a:r>
              <a:rPr lang="en-US" b="1" dirty="0"/>
              <a:t> </a:t>
            </a:r>
            <a:r>
              <a:rPr lang="en-US" b="1" dirty="0" err="1"/>
              <a:t>Não</a:t>
            </a:r>
            <a:r>
              <a:rPr lang="en-US" b="1" dirty="0"/>
              <a:t> </a:t>
            </a:r>
            <a:r>
              <a:rPr lang="en-US" b="1" dirty="0" err="1"/>
              <a:t>funcionais</a:t>
            </a:r>
            <a:endParaRPr lang="pt-BR" b="1" dirty="0"/>
          </a:p>
        </p:txBody>
      </p:sp>
      <p:sp>
        <p:nvSpPr>
          <p:cNvPr id="7" name="TextBox 6"/>
          <p:cNvSpPr txBox="1"/>
          <p:nvPr/>
        </p:nvSpPr>
        <p:spPr>
          <a:xfrm>
            <a:off x="7947660" y="65785"/>
            <a:ext cx="41559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 smtClean="0">
                <a:solidFill>
                  <a:schemeClr val="bg1">
                    <a:lumMod val="85000"/>
                  </a:schemeClr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Courier New" panose="02070309020205020404" pitchFamily="49" charset="0"/>
              </a:rPr>
              <a:t>Access</a:t>
            </a:r>
            <a:r>
              <a:rPr lang="en-US" sz="1600" b="1" dirty="0" err="1" smtClean="0">
                <a:solidFill>
                  <a:srgbClr val="00B050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Courier New" panose="02070309020205020404" pitchFamily="49" charset="0"/>
              </a:rPr>
              <a:t>Bank</a:t>
            </a:r>
            <a:endParaRPr lang="pt-BR" sz="1600" b="1" dirty="0">
              <a:solidFill>
                <a:srgbClr val="00B050"/>
              </a:solidFill>
              <a:latin typeface="Segoe UI Symbol" panose="020B0502040204020203" pitchFamily="34" charset="0"/>
              <a:ea typeface="Segoe UI Symbol" panose="020B0502040204020203" pitchFamily="34" charset="0"/>
              <a:cs typeface="Courier New" panose="02070309020205020404" pitchFamily="49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118246" y="297482"/>
            <a:ext cx="954107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>
                <a:solidFill>
                  <a:schemeClr val="bg1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nking Technologies</a:t>
            </a:r>
            <a:endParaRPr lang="pt-BR" sz="500" dirty="0">
              <a:solidFill>
                <a:schemeClr val="bg1">
                  <a:lumMod val="7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9" name="Picture 8" descr="https://upload.wikimedia.org/wikipedia/commons/b/be/Lineage_OS_Logo.png"/>
          <p:cNvPicPr/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5028" y="0"/>
            <a:ext cx="306324" cy="1676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Image">
            <a:extLst>
              <a:ext uri="{FF2B5EF4-FFF2-40B4-BE49-F238E27FC236}">
                <a16:creationId xmlns:a16="http://schemas.microsoft.com/office/drawing/2014/main" id="{19F04FC8-73C9-47D2-BA35-AA85CB5E7F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76" y="4632908"/>
            <a:ext cx="1098778" cy="409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180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46;p12">
            <a:extLst>
              <a:ext uri="{FF2B5EF4-FFF2-40B4-BE49-F238E27FC236}">
                <a16:creationId xmlns:a16="http://schemas.microsoft.com/office/drawing/2014/main" id="{A5961D8A-DC70-4538-A7CE-17C380B17727}"/>
              </a:ext>
            </a:extLst>
          </p:cNvPr>
          <p:cNvSpPr txBox="1">
            <a:spLocks/>
          </p:cNvSpPr>
          <p:nvPr/>
        </p:nvSpPr>
        <p:spPr>
          <a:xfrm>
            <a:off x="8749933" y="4785600"/>
            <a:ext cx="548700" cy="357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>
                <a:solidFill>
                  <a:schemeClr val="accent1"/>
                </a:solidFill>
                <a:latin typeface="Nixie One" panose="020B0604020202020204" charset="0"/>
              </a:rPr>
              <a:pPr/>
              <a:t>12</a:t>
            </a:fld>
            <a:endParaRPr lang="en" dirty="0">
              <a:solidFill>
                <a:schemeClr val="accent1"/>
              </a:solidFill>
              <a:latin typeface="Nixie One" panose="020B0604020202020204" charset="0"/>
            </a:endParaRP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3CDE3A9C-8154-411B-B39B-73609425475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" t="939" r="352" b="909"/>
          <a:stretch/>
        </p:blipFill>
        <p:spPr>
          <a:xfrm>
            <a:off x="662513" y="1322024"/>
            <a:ext cx="7831491" cy="273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233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" name="Google Shape;346;p12"/>
          <p:cNvSpPr txBox="1">
            <a:spLocks noGrp="1"/>
          </p:cNvSpPr>
          <p:nvPr>
            <p:ph type="sldNum" idx="12"/>
          </p:nvPr>
        </p:nvSpPr>
        <p:spPr>
          <a:xfrm>
            <a:off x="8595300" y="4736217"/>
            <a:ext cx="548700" cy="357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3</a:t>
            </a:fld>
            <a:endParaRPr dirty="0"/>
          </a:p>
        </p:txBody>
      </p:sp>
      <p:sp>
        <p:nvSpPr>
          <p:cNvPr id="7" name="Google Shape;359;p14">
            <a:extLst>
              <a:ext uri="{FF2B5EF4-FFF2-40B4-BE49-F238E27FC236}">
                <a16:creationId xmlns:a16="http://schemas.microsoft.com/office/drawing/2014/main" id="{5820E5D7-F5FC-4E5F-96FF-23F658A067BD}"/>
              </a:ext>
            </a:extLst>
          </p:cNvPr>
          <p:cNvSpPr txBox="1">
            <a:spLocks/>
          </p:cNvSpPr>
          <p:nvPr/>
        </p:nvSpPr>
        <p:spPr>
          <a:xfrm>
            <a:off x="13557" y="445039"/>
            <a:ext cx="9130443" cy="497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9pPr>
          </a:lstStyle>
          <a:p>
            <a:pPr algn="ctr"/>
            <a:r>
              <a:rPr lang="en-US" b="1" dirty="0"/>
              <a:t>Storyboard</a:t>
            </a:r>
            <a:endParaRPr lang="pt-BR" b="1" dirty="0"/>
          </a:p>
        </p:txBody>
      </p:sp>
      <p:pic>
        <p:nvPicPr>
          <p:cNvPr id="8" name="Picture 6">
            <a:extLst>
              <a:ext uri="{FF2B5EF4-FFF2-40B4-BE49-F238E27FC236}">
                <a16:creationId xmlns:a16="http://schemas.microsoft.com/office/drawing/2014/main" id="{435319A4-9014-45A2-9942-EB831D2CDB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5185" y="942336"/>
            <a:ext cx="6720115" cy="3780065"/>
          </a:xfrm>
          <a:prstGeom prst="rect">
            <a:avLst/>
          </a:prstGeom>
          <a:ln w="19050">
            <a:noFill/>
            <a:prstDash val="sysDash"/>
          </a:ln>
        </p:spPr>
      </p:pic>
      <p:pic>
        <p:nvPicPr>
          <p:cNvPr id="9" name="Image">
            <a:extLst>
              <a:ext uri="{FF2B5EF4-FFF2-40B4-BE49-F238E27FC236}">
                <a16:creationId xmlns:a16="http://schemas.microsoft.com/office/drawing/2014/main" id="{19F04FC8-73C9-47D2-BA35-AA85CB5E7F6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76" y="4632908"/>
            <a:ext cx="1098778" cy="409622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7947660" y="65785"/>
            <a:ext cx="41559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 smtClean="0">
                <a:solidFill>
                  <a:schemeClr val="bg1">
                    <a:lumMod val="85000"/>
                  </a:schemeClr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Courier New" panose="02070309020205020404" pitchFamily="49" charset="0"/>
              </a:rPr>
              <a:t>Access</a:t>
            </a:r>
            <a:r>
              <a:rPr lang="en-US" sz="1600" b="1" dirty="0" err="1" smtClean="0">
                <a:solidFill>
                  <a:srgbClr val="00B050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Courier New" panose="02070309020205020404" pitchFamily="49" charset="0"/>
              </a:rPr>
              <a:t>Bank</a:t>
            </a:r>
            <a:endParaRPr lang="pt-BR" sz="1600" b="1" dirty="0">
              <a:solidFill>
                <a:srgbClr val="00B050"/>
              </a:solidFill>
              <a:latin typeface="Segoe UI Symbol" panose="020B0502040204020203" pitchFamily="34" charset="0"/>
              <a:ea typeface="Segoe UI Symbol" panose="020B0502040204020203" pitchFamily="34" charset="0"/>
              <a:cs typeface="Courier New" panose="02070309020205020404" pitchFamily="49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118246" y="297482"/>
            <a:ext cx="954107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>
                <a:solidFill>
                  <a:schemeClr val="bg1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nking Technologies</a:t>
            </a:r>
            <a:endParaRPr lang="pt-BR" sz="500" dirty="0">
              <a:solidFill>
                <a:schemeClr val="bg1">
                  <a:lumMod val="7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2" name="Picture 11" descr="https://upload.wikimedia.org/wikipedia/commons/b/be/Lineage_OS_Logo.png"/>
          <p:cNvPicPr/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5028" y="0"/>
            <a:ext cx="306324" cy="1676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1488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" name="Google Shape;346;p12"/>
          <p:cNvSpPr txBox="1">
            <a:spLocks noGrp="1"/>
          </p:cNvSpPr>
          <p:nvPr>
            <p:ph type="sldNum" idx="12"/>
          </p:nvPr>
        </p:nvSpPr>
        <p:spPr>
          <a:xfrm>
            <a:off x="8595300" y="4743617"/>
            <a:ext cx="548700" cy="357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4</a:t>
            </a:fld>
            <a:endParaRPr dirty="0"/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8FF30BA8-C0B4-4D3D-A145-34990F9B5B8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8" t="-517" r="1248" b="2620"/>
          <a:stretch/>
        </p:blipFill>
        <p:spPr>
          <a:xfrm>
            <a:off x="1533265" y="1323109"/>
            <a:ext cx="7062035" cy="3070460"/>
          </a:xfrm>
          <a:prstGeom prst="rect">
            <a:avLst/>
          </a:prstGeom>
        </p:spPr>
      </p:pic>
      <p:sp>
        <p:nvSpPr>
          <p:cNvPr id="10" name="Google Shape;359;p14">
            <a:extLst>
              <a:ext uri="{FF2B5EF4-FFF2-40B4-BE49-F238E27FC236}">
                <a16:creationId xmlns:a16="http://schemas.microsoft.com/office/drawing/2014/main" id="{5DD37F92-91D0-4781-8CD5-C1FA7CFBC612}"/>
              </a:ext>
            </a:extLst>
          </p:cNvPr>
          <p:cNvSpPr txBox="1">
            <a:spLocks/>
          </p:cNvSpPr>
          <p:nvPr/>
        </p:nvSpPr>
        <p:spPr>
          <a:xfrm>
            <a:off x="0" y="118739"/>
            <a:ext cx="9143999" cy="8543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9pPr>
          </a:lstStyle>
          <a:p>
            <a:pPr algn="ctr"/>
            <a:r>
              <a:rPr lang="en-US" b="1" dirty="0"/>
              <a:t>Planner</a:t>
            </a:r>
            <a:endParaRPr lang="pt-BR" b="1" dirty="0"/>
          </a:p>
        </p:txBody>
      </p:sp>
      <p:sp>
        <p:nvSpPr>
          <p:cNvPr id="7" name="TextBox 6"/>
          <p:cNvSpPr txBox="1"/>
          <p:nvPr/>
        </p:nvSpPr>
        <p:spPr>
          <a:xfrm>
            <a:off x="7947660" y="65785"/>
            <a:ext cx="41559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 smtClean="0">
                <a:solidFill>
                  <a:schemeClr val="bg1">
                    <a:lumMod val="85000"/>
                  </a:schemeClr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Courier New" panose="02070309020205020404" pitchFamily="49" charset="0"/>
              </a:rPr>
              <a:t>Access</a:t>
            </a:r>
            <a:r>
              <a:rPr lang="en-US" sz="1600" b="1" dirty="0" err="1" smtClean="0">
                <a:solidFill>
                  <a:srgbClr val="00B050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Courier New" panose="02070309020205020404" pitchFamily="49" charset="0"/>
              </a:rPr>
              <a:t>Bank</a:t>
            </a:r>
            <a:endParaRPr lang="pt-BR" sz="1600" b="1" dirty="0">
              <a:solidFill>
                <a:srgbClr val="00B050"/>
              </a:solidFill>
              <a:latin typeface="Segoe UI Symbol" panose="020B0502040204020203" pitchFamily="34" charset="0"/>
              <a:ea typeface="Segoe UI Symbol" panose="020B0502040204020203" pitchFamily="34" charset="0"/>
              <a:cs typeface="Courier New" panose="02070309020205020404" pitchFamily="49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118246" y="297482"/>
            <a:ext cx="954107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>
                <a:solidFill>
                  <a:schemeClr val="bg1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nking Technologies</a:t>
            </a:r>
            <a:endParaRPr lang="pt-BR" sz="500" dirty="0">
              <a:solidFill>
                <a:schemeClr val="bg1">
                  <a:lumMod val="7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1" name="Picture 10" descr="https://upload.wikimedia.org/wikipedia/commons/b/be/Lineage_OS_Logo.png"/>
          <p:cNvPicPr/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5028" y="0"/>
            <a:ext cx="306324" cy="1676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Image">
            <a:extLst>
              <a:ext uri="{FF2B5EF4-FFF2-40B4-BE49-F238E27FC236}">
                <a16:creationId xmlns:a16="http://schemas.microsoft.com/office/drawing/2014/main" id="{19F04FC8-73C9-47D2-BA35-AA85CB5E7F6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76" y="4632908"/>
            <a:ext cx="1098778" cy="409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202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ector reto 3"/>
          <p:cNvCxnSpPr/>
          <p:nvPr/>
        </p:nvCxnSpPr>
        <p:spPr>
          <a:xfrm flipH="1">
            <a:off x="3004627" y="1151319"/>
            <a:ext cx="0" cy="3158834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6084951" y="1130328"/>
            <a:ext cx="5442" cy="3253697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033628" y="669171"/>
            <a:ext cx="106150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100" b="1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LOUC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3755459" y="706656"/>
            <a:ext cx="1106393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100" b="1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TRIST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6580197" y="710495"/>
            <a:ext cx="182449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100" b="1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NTENTE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061039" y="3236722"/>
            <a:ext cx="1134150" cy="593969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82209"/>
            <a:r>
              <a:rPr lang="pt-BR" sz="1360" dirty="0">
                <a:solidFill>
                  <a:schemeClr val="tx1"/>
                </a:solidFill>
                <a:latin typeface="MV Boli"/>
                <a:cs typeface="MV Boli"/>
              </a:rPr>
              <a:t>Prazo de Arrogados</a:t>
            </a:r>
            <a:endParaRPr lang="en-US" sz="1360" dirty="0">
              <a:solidFill>
                <a:schemeClr val="tx1"/>
              </a:solidFill>
              <a:cs typeface="Calibri"/>
            </a:endParaRP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675816" y="3885665"/>
            <a:ext cx="1198019" cy="59397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82209"/>
            <a:r>
              <a:rPr lang="pt-BR" sz="1360" dirty="0">
                <a:solidFill>
                  <a:schemeClr val="tx1"/>
                </a:solidFill>
                <a:latin typeface="MV Boli"/>
                <a:cs typeface="MV Boli"/>
              </a:rPr>
              <a:t>Falta de planejamento</a:t>
            </a:r>
            <a:endParaRPr lang="en-US" sz="952" dirty="0">
              <a:solidFill>
                <a:schemeClr val="tx1"/>
              </a:solidFill>
            </a:endParaRP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3189248" y="1375189"/>
            <a:ext cx="1134150" cy="593969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60" dirty="0">
                <a:solidFill>
                  <a:schemeClr val="tx1"/>
                </a:solidFill>
                <a:latin typeface="MV Boli"/>
                <a:cs typeface="MV Boli"/>
              </a:rPr>
              <a:t>Importância aos erros</a:t>
            </a:r>
            <a:endParaRPr lang="pt-BR" sz="1020" dirty="0">
              <a:solidFill>
                <a:schemeClr val="tx1"/>
              </a:solidFill>
              <a:latin typeface="MV Boli"/>
              <a:cs typeface="MV Boli"/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4575074" y="2311264"/>
            <a:ext cx="1134150" cy="59396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60" dirty="0">
                <a:solidFill>
                  <a:schemeClr val="tx1"/>
                </a:solidFill>
                <a:latin typeface="MV Boli"/>
                <a:cs typeface="MV Boli"/>
              </a:rPr>
              <a:t>Falta de Qualidade do Projeto</a:t>
            </a:r>
            <a:endParaRPr lang="pt-BR" sz="1050" dirty="0" err="1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061543" y="2554749"/>
            <a:ext cx="1134150" cy="5939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82209"/>
            <a:r>
              <a:rPr lang="pt-BR" sz="1360" dirty="0">
                <a:solidFill>
                  <a:schemeClr val="tx1"/>
                </a:solidFill>
                <a:latin typeface="MV Boli"/>
                <a:cs typeface="MV Boli"/>
              </a:rPr>
              <a:t>Alteração do Escopo</a:t>
            </a:r>
            <a:endParaRPr lang="pt-BR" sz="1020" dirty="0">
              <a:solidFill>
                <a:schemeClr val="tx1"/>
              </a:solidFill>
              <a:latin typeface="MV Boli"/>
              <a:cs typeface="MV Boli"/>
            </a:endParaRP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6373907" y="1559342"/>
            <a:ext cx="1324602" cy="593969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60" dirty="0">
                <a:solidFill>
                  <a:schemeClr val="tx1"/>
                </a:solidFill>
                <a:latin typeface="MV Boli"/>
                <a:cs typeface="MV Boli"/>
              </a:rPr>
              <a:t>Entrega das Sprints</a:t>
            </a:r>
            <a:endParaRPr lang="pt-BR" sz="136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7174688" y="2359114"/>
            <a:ext cx="1319160" cy="593969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60" dirty="0">
                <a:solidFill>
                  <a:schemeClr val="tx1"/>
                </a:solidFill>
                <a:latin typeface="MV Boli"/>
                <a:cs typeface="MV Boli"/>
              </a:rPr>
              <a:t>Experimentar</a:t>
            </a:r>
          </a:p>
        </p:txBody>
      </p:sp>
      <p:sp>
        <p:nvSpPr>
          <p:cNvPr id="20" name="Retângulo 15">
            <a:extLst>
              <a:ext uri="{FF2B5EF4-FFF2-40B4-BE49-F238E27FC236}">
                <a16:creationId xmlns:a16="http://schemas.microsoft.com/office/drawing/2014/main" id="{BB98531C-08A4-4699-97BF-99F5CD14A417}"/>
              </a:ext>
            </a:extLst>
          </p:cNvPr>
          <p:cNvSpPr/>
          <p:nvPr/>
        </p:nvSpPr>
        <p:spPr>
          <a:xfrm>
            <a:off x="3445561" y="3321821"/>
            <a:ext cx="1134150" cy="593969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60" dirty="0">
                <a:solidFill>
                  <a:schemeClr val="tx1"/>
                </a:solidFill>
                <a:latin typeface="MV Boli"/>
                <a:cs typeface="MV Boli"/>
              </a:rPr>
              <a:t>Expectativas Altas</a:t>
            </a:r>
          </a:p>
        </p:txBody>
      </p:sp>
      <p:sp>
        <p:nvSpPr>
          <p:cNvPr id="28" name="Retângulo 19">
            <a:extLst>
              <a:ext uri="{FF2B5EF4-FFF2-40B4-BE49-F238E27FC236}">
                <a16:creationId xmlns:a16="http://schemas.microsoft.com/office/drawing/2014/main" id="{EB59F9A5-AC02-494E-A17C-F4F416BC7B9F}"/>
              </a:ext>
            </a:extLst>
          </p:cNvPr>
          <p:cNvSpPr/>
          <p:nvPr/>
        </p:nvSpPr>
        <p:spPr>
          <a:xfrm>
            <a:off x="729144" y="1185482"/>
            <a:ext cx="1837257" cy="968009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632" dirty="0">
                <a:solidFill>
                  <a:srgbClr val="000000"/>
                </a:solidFill>
                <a:latin typeface="MV Boli"/>
                <a:cs typeface="MV Boli"/>
              </a:rPr>
              <a:t>Planejar-se mais</a:t>
            </a:r>
          </a:p>
        </p:txBody>
      </p:sp>
      <p:sp>
        <p:nvSpPr>
          <p:cNvPr id="32" name="Retângulo 20">
            <a:extLst>
              <a:ext uri="{FF2B5EF4-FFF2-40B4-BE49-F238E27FC236}">
                <a16:creationId xmlns:a16="http://schemas.microsoft.com/office/drawing/2014/main" id="{D3FCE4BD-6ED6-4323-A3CF-BB01B67AC402}"/>
              </a:ext>
            </a:extLst>
          </p:cNvPr>
          <p:cNvSpPr/>
          <p:nvPr/>
        </p:nvSpPr>
        <p:spPr>
          <a:xfrm>
            <a:off x="466205" y="3884415"/>
            <a:ext cx="1134150" cy="5939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82209"/>
            <a:r>
              <a:rPr lang="pt-BR" sz="1360" dirty="0">
                <a:solidFill>
                  <a:srgbClr val="000000"/>
                </a:solidFill>
                <a:latin typeface="MV Boli"/>
                <a:cs typeface="MV Boli"/>
              </a:rPr>
              <a:t>Atribuição de Tarefas aleatórias</a:t>
            </a:r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10328426-E482-4AB3-A4A2-988198E5C7A3}"/>
              </a:ext>
            </a:extLst>
          </p:cNvPr>
          <p:cNvCxnSpPr/>
          <p:nvPr/>
        </p:nvCxnSpPr>
        <p:spPr>
          <a:xfrm>
            <a:off x="1642355" y="3155233"/>
            <a:ext cx="10204" cy="84540"/>
          </a:xfrm>
          <a:prstGeom prst="straightConnector1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1300AEC1-6481-4587-9094-085656815A55}"/>
              </a:ext>
            </a:extLst>
          </p:cNvPr>
          <p:cNvCxnSpPr>
            <a:cxnSpLocks/>
          </p:cNvCxnSpPr>
          <p:nvPr/>
        </p:nvCxnSpPr>
        <p:spPr>
          <a:xfrm>
            <a:off x="2206416" y="3825407"/>
            <a:ext cx="52785" cy="41946"/>
          </a:xfrm>
          <a:prstGeom prst="straightConnector1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81FD4A28-028A-4E11-A8C0-BCDE4944B885}"/>
              </a:ext>
            </a:extLst>
          </p:cNvPr>
          <p:cNvCxnSpPr>
            <a:cxnSpLocks/>
          </p:cNvCxnSpPr>
          <p:nvPr/>
        </p:nvCxnSpPr>
        <p:spPr>
          <a:xfrm flipH="1">
            <a:off x="1035568" y="3804590"/>
            <a:ext cx="43020" cy="84541"/>
          </a:xfrm>
          <a:prstGeom prst="straightConnector1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831534C2-43FC-4E34-8AAC-C57A51479A9D}"/>
              </a:ext>
            </a:extLst>
          </p:cNvPr>
          <p:cNvCxnSpPr>
            <a:cxnSpLocks/>
          </p:cNvCxnSpPr>
          <p:nvPr/>
        </p:nvCxnSpPr>
        <p:spPr>
          <a:xfrm>
            <a:off x="1643637" y="2155479"/>
            <a:ext cx="10205" cy="393347"/>
          </a:xfrm>
          <a:prstGeom prst="straightConnector1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tângulo 19">
            <a:extLst>
              <a:ext uri="{FF2B5EF4-FFF2-40B4-BE49-F238E27FC236}">
                <a16:creationId xmlns:a16="http://schemas.microsoft.com/office/drawing/2014/main" id="{875FE6A1-B16C-49C3-98C9-5C1ED4DB69DC}"/>
              </a:ext>
            </a:extLst>
          </p:cNvPr>
          <p:cNvSpPr/>
          <p:nvPr/>
        </p:nvSpPr>
        <p:spPr>
          <a:xfrm>
            <a:off x="4281096" y="1154174"/>
            <a:ext cx="1060177" cy="733742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224" dirty="0">
                <a:solidFill>
                  <a:srgbClr val="000000"/>
                </a:solidFill>
                <a:latin typeface="MV Boli"/>
                <a:cs typeface="MV Boli"/>
              </a:rPr>
              <a:t>Dar mais Importância</a:t>
            </a:r>
            <a:endParaRPr lang="pt-BR" sz="1224" dirty="0" err="1">
              <a:solidFill>
                <a:srgbClr val="000000"/>
              </a:solidFill>
              <a:latin typeface="MV Boli"/>
              <a:cs typeface="MV Boli"/>
            </a:endParaRPr>
          </a:p>
        </p:txBody>
      </p:sp>
      <p:sp>
        <p:nvSpPr>
          <p:cNvPr id="38" name="Retângulo 19">
            <a:extLst>
              <a:ext uri="{FF2B5EF4-FFF2-40B4-BE49-F238E27FC236}">
                <a16:creationId xmlns:a16="http://schemas.microsoft.com/office/drawing/2014/main" id="{3AA65A56-05E8-43B7-B568-217FE1B5B311}"/>
              </a:ext>
            </a:extLst>
          </p:cNvPr>
          <p:cNvSpPr/>
          <p:nvPr/>
        </p:nvSpPr>
        <p:spPr>
          <a:xfrm>
            <a:off x="3580736" y="2122170"/>
            <a:ext cx="1060177" cy="733742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224" dirty="0">
                <a:solidFill>
                  <a:srgbClr val="000000"/>
                </a:solidFill>
                <a:latin typeface="MV Boli"/>
                <a:cs typeface="MV Boli"/>
              </a:rPr>
              <a:t>Empenhar-se</a:t>
            </a:r>
            <a:endParaRPr lang="pt-BR" sz="1224" dirty="0" err="1">
              <a:solidFill>
                <a:srgbClr val="000000"/>
              </a:solidFill>
              <a:latin typeface="MV Boli"/>
              <a:cs typeface="MV Boli"/>
            </a:endParaRPr>
          </a:p>
        </p:txBody>
      </p:sp>
      <p:sp>
        <p:nvSpPr>
          <p:cNvPr id="39" name="Retângulo 19">
            <a:extLst>
              <a:ext uri="{FF2B5EF4-FFF2-40B4-BE49-F238E27FC236}">
                <a16:creationId xmlns:a16="http://schemas.microsoft.com/office/drawing/2014/main" id="{3ADAA930-DC46-49F1-8ABA-6A8C9ABBED17}"/>
              </a:ext>
            </a:extLst>
          </p:cNvPr>
          <p:cNvSpPr/>
          <p:nvPr/>
        </p:nvSpPr>
        <p:spPr>
          <a:xfrm>
            <a:off x="4580342" y="3111442"/>
            <a:ext cx="1209205" cy="797633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224" dirty="0">
                <a:solidFill>
                  <a:srgbClr val="000000"/>
                </a:solidFill>
                <a:latin typeface="MV Boli"/>
                <a:cs typeface="MV Boli"/>
              </a:rPr>
              <a:t>Se manter concentrado e alinhado com a equipe</a:t>
            </a:r>
            <a:endParaRPr lang="pt-BR" sz="1224" dirty="0" err="1">
              <a:solidFill>
                <a:srgbClr val="000000"/>
              </a:solidFill>
              <a:latin typeface="MV Boli"/>
              <a:cs typeface="MV Boli"/>
            </a:endParaRPr>
          </a:p>
        </p:txBody>
      </p:sp>
      <p:sp>
        <p:nvSpPr>
          <p:cNvPr id="40" name="Retângulo 26">
            <a:extLst>
              <a:ext uri="{FF2B5EF4-FFF2-40B4-BE49-F238E27FC236}">
                <a16:creationId xmlns:a16="http://schemas.microsoft.com/office/drawing/2014/main" id="{D24BACB2-E0E8-421D-9BE8-4A560FA3091E}"/>
              </a:ext>
            </a:extLst>
          </p:cNvPr>
          <p:cNvSpPr/>
          <p:nvPr/>
        </p:nvSpPr>
        <p:spPr>
          <a:xfrm>
            <a:off x="6549737" y="3422847"/>
            <a:ext cx="1319160" cy="593969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60" dirty="0">
                <a:solidFill>
                  <a:schemeClr val="tx1"/>
                </a:solidFill>
                <a:latin typeface="MV Boli"/>
                <a:cs typeface="MV Boli"/>
              </a:rPr>
              <a:t>Concluir o projeto</a:t>
            </a:r>
          </a:p>
        </p:txBody>
      </p:sp>
      <p:sp>
        <p:nvSpPr>
          <p:cNvPr id="30" name="Google Shape;342;p12">
            <a:extLst>
              <a:ext uri="{FF2B5EF4-FFF2-40B4-BE49-F238E27FC236}">
                <a16:creationId xmlns:a16="http://schemas.microsoft.com/office/drawing/2014/main" id="{58B895F3-52F5-44C8-86C8-C6CB5BA4E3D1}"/>
              </a:ext>
            </a:extLst>
          </p:cNvPr>
          <p:cNvSpPr txBox="1">
            <a:spLocks/>
          </p:cNvSpPr>
          <p:nvPr/>
        </p:nvSpPr>
        <p:spPr>
          <a:xfrm>
            <a:off x="68913" y="109433"/>
            <a:ext cx="9144000" cy="645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endParaRPr lang="pt-BR" sz="4000" b="1" dirty="0">
              <a:solidFill>
                <a:schemeClr val="accent1"/>
              </a:solidFill>
              <a:latin typeface="Nixie One" panose="020B0604020202020204" charset="0"/>
            </a:endParaRPr>
          </a:p>
        </p:txBody>
      </p:sp>
      <p:sp>
        <p:nvSpPr>
          <p:cNvPr id="31" name="Google Shape;342;p12">
            <a:extLst>
              <a:ext uri="{FF2B5EF4-FFF2-40B4-BE49-F238E27FC236}">
                <a16:creationId xmlns:a16="http://schemas.microsoft.com/office/drawing/2014/main" id="{B8F0540D-D410-463A-97B5-740C9B1D2850}"/>
              </a:ext>
            </a:extLst>
          </p:cNvPr>
          <p:cNvSpPr txBox="1">
            <a:spLocks/>
          </p:cNvSpPr>
          <p:nvPr/>
        </p:nvSpPr>
        <p:spPr>
          <a:xfrm>
            <a:off x="-68913" y="152990"/>
            <a:ext cx="9144000" cy="645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Clr>
                <a:srgbClr val="19BBD5"/>
              </a:buClr>
              <a:buSzPts val="4000"/>
            </a:pPr>
            <a:r>
              <a:rPr lang="pt-BR" sz="4000" b="1" dirty="0">
                <a:solidFill>
                  <a:srgbClr val="19BBD5"/>
                </a:solidFill>
                <a:latin typeface="Nixie One"/>
                <a:sym typeface="Nixie One"/>
              </a:rPr>
              <a:t>Plano de respostas</a:t>
            </a:r>
          </a:p>
        </p:txBody>
      </p:sp>
      <p:sp>
        <p:nvSpPr>
          <p:cNvPr id="35" name="Google Shape;346;p12">
            <a:extLst>
              <a:ext uri="{FF2B5EF4-FFF2-40B4-BE49-F238E27FC236}">
                <a16:creationId xmlns:a16="http://schemas.microsoft.com/office/drawing/2014/main" id="{A5961D8A-DC70-4538-A7CE-17C380B17727}"/>
              </a:ext>
            </a:extLst>
          </p:cNvPr>
          <p:cNvSpPr txBox="1">
            <a:spLocks/>
          </p:cNvSpPr>
          <p:nvPr/>
        </p:nvSpPr>
        <p:spPr>
          <a:xfrm>
            <a:off x="13557" y="4785525"/>
            <a:ext cx="548700" cy="357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>
                <a:solidFill>
                  <a:schemeClr val="accent1"/>
                </a:solidFill>
                <a:latin typeface="Nixie One" panose="020B0604020202020204" charset="0"/>
              </a:rPr>
              <a:pPr/>
              <a:t>15</a:t>
            </a:fld>
            <a:endParaRPr lang="en" dirty="0">
              <a:solidFill>
                <a:schemeClr val="accent1"/>
              </a:solidFill>
              <a:latin typeface="Nixie One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351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46;p12">
            <a:extLst>
              <a:ext uri="{FF2B5EF4-FFF2-40B4-BE49-F238E27FC236}">
                <a16:creationId xmlns:a16="http://schemas.microsoft.com/office/drawing/2014/main" id="{A5961D8A-DC70-4538-A7CE-17C380B17727}"/>
              </a:ext>
            </a:extLst>
          </p:cNvPr>
          <p:cNvSpPr txBox="1">
            <a:spLocks/>
          </p:cNvSpPr>
          <p:nvPr/>
        </p:nvSpPr>
        <p:spPr>
          <a:xfrm>
            <a:off x="8749933" y="4785600"/>
            <a:ext cx="548700" cy="357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>
                <a:solidFill>
                  <a:schemeClr val="accent1"/>
                </a:solidFill>
                <a:latin typeface="Nixie One" panose="020B0604020202020204" charset="0"/>
              </a:rPr>
              <a:pPr/>
              <a:t>16</a:t>
            </a:fld>
            <a:endParaRPr lang="en" dirty="0">
              <a:solidFill>
                <a:schemeClr val="accent1"/>
              </a:solidFill>
              <a:latin typeface="Nixie One" panose="020B0604020202020204" charset="0"/>
            </a:endParaRPr>
          </a:p>
        </p:txBody>
      </p:sp>
      <p:sp>
        <p:nvSpPr>
          <p:cNvPr id="6" name="Google Shape;359;p14">
            <a:extLst>
              <a:ext uri="{FF2B5EF4-FFF2-40B4-BE49-F238E27FC236}">
                <a16:creationId xmlns:a16="http://schemas.microsoft.com/office/drawing/2014/main" id="{FB4F7B4A-CE98-4590-8F63-FFDEAB73E4F7}"/>
              </a:ext>
            </a:extLst>
          </p:cNvPr>
          <p:cNvSpPr txBox="1">
            <a:spLocks/>
          </p:cNvSpPr>
          <p:nvPr/>
        </p:nvSpPr>
        <p:spPr>
          <a:xfrm>
            <a:off x="196616" y="1497879"/>
            <a:ext cx="8875737" cy="151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9pPr>
          </a:lstStyle>
          <a:p>
            <a:pPr algn="ctr"/>
            <a:r>
              <a:rPr lang="pt-BR" sz="6600" b="1" dirty="0" smtClean="0"/>
              <a:t>Obrigado </a:t>
            </a:r>
            <a:r>
              <a:rPr lang="pt-BR" sz="6600" b="1" dirty="0"/>
              <a:t>!</a:t>
            </a:r>
          </a:p>
        </p:txBody>
      </p:sp>
      <p:pic>
        <p:nvPicPr>
          <p:cNvPr id="8" name="Image">
            <a:extLst>
              <a:ext uri="{FF2B5EF4-FFF2-40B4-BE49-F238E27FC236}">
                <a16:creationId xmlns:a16="http://schemas.microsoft.com/office/drawing/2014/main" id="{DA029F4B-F3BA-4078-9005-D17A5FBEF1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76" y="4444703"/>
            <a:ext cx="1603622" cy="59782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7947660" y="65785"/>
            <a:ext cx="41559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 smtClean="0">
                <a:solidFill>
                  <a:schemeClr val="bg1">
                    <a:lumMod val="85000"/>
                  </a:schemeClr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Courier New" panose="02070309020205020404" pitchFamily="49" charset="0"/>
              </a:rPr>
              <a:t>Access</a:t>
            </a:r>
            <a:r>
              <a:rPr lang="en-US" sz="1600" b="1" dirty="0" err="1" smtClean="0">
                <a:solidFill>
                  <a:srgbClr val="00B050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Courier New" panose="02070309020205020404" pitchFamily="49" charset="0"/>
              </a:rPr>
              <a:t>Bank</a:t>
            </a:r>
            <a:endParaRPr lang="pt-BR" sz="1600" b="1" dirty="0">
              <a:solidFill>
                <a:srgbClr val="00B050"/>
              </a:solidFill>
              <a:latin typeface="Segoe UI Symbol" panose="020B0502040204020203" pitchFamily="34" charset="0"/>
              <a:ea typeface="Segoe UI Symbol" panose="020B0502040204020203" pitchFamily="34" charset="0"/>
              <a:cs typeface="Courier New" panose="02070309020205020404" pitchFamily="49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118246" y="297482"/>
            <a:ext cx="954107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>
                <a:solidFill>
                  <a:schemeClr val="bg1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nking Technologies</a:t>
            </a:r>
            <a:endParaRPr lang="pt-BR" sz="500" dirty="0">
              <a:solidFill>
                <a:schemeClr val="bg1">
                  <a:lumMod val="7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1" name="Picture 10" descr="https://upload.wikimedia.org/wikipedia/commons/b/be/Lineage_OS_Logo.png"/>
          <p:cNvPicPr/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5028" y="0"/>
            <a:ext cx="306324" cy="1676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79458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" name="Google Shape;337;p11"/>
          <p:cNvSpPr txBox="1">
            <a:spLocks noGrp="1"/>
          </p:cNvSpPr>
          <p:nvPr>
            <p:ph type="ctrTitle"/>
          </p:nvPr>
        </p:nvSpPr>
        <p:spPr>
          <a:xfrm>
            <a:off x="0" y="1991850"/>
            <a:ext cx="9144000" cy="1159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400" b="1" dirty="0"/>
              <a:t>Pesquisa e Inovação</a:t>
            </a:r>
            <a:endParaRPr sz="54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Google Shape;342;p12"/>
          <p:cNvSpPr txBox="1">
            <a:spLocks noGrp="1"/>
          </p:cNvSpPr>
          <p:nvPr>
            <p:ph type="title"/>
          </p:nvPr>
        </p:nvSpPr>
        <p:spPr>
          <a:xfrm>
            <a:off x="1" y="791998"/>
            <a:ext cx="9144000" cy="645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 dirty="0"/>
              <a:t>Team</a:t>
            </a:r>
            <a:endParaRPr b="1" dirty="0"/>
          </a:p>
        </p:txBody>
      </p:sp>
      <p:sp>
        <p:nvSpPr>
          <p:cNvPr id="346" name="Google Shape;346;p12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3</a:t>
            </a:fld>
            <a:endParaRPr dirty="0"/>
          </a:p>
        </p:txBody>
      </p:sp>
      <p:sp>
        <p:nvSpPr>
          <p:cNvPr id="343" name="Google Shape;343;p12"/>
          <p:cNvSpPr txBox="1"/>
          <p:nvPr/>
        </p:nvSpPr>
        <p:spPr>
          <a:xfrm>
            <a:off x="13557" y="1749258"/>
            <a:ext cx="9130443" cy="16449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 algn="ctr">
              <a:spcBef>
                <a:spcPts val="600"/>
              </a:spcBef>
            </a:pPr>
            <a:r>
              <a:rPr lang="pt-BR" b="1" dirty="0">
                <a:solidFill>
                  <a:srgbClr val="00E1C6"/>
                </a:solidFill>
                <a:latin typeface="Muli"/>
                <a:ea typeface="Muli"/>
                <a:cs typeface="Muli"/>
                <a:sym typeface="Muli"/>
              </a:rPr>
              <a:t>Nome: </a:t>
            </a:r>
            <a:r>
              <a:rPr lang="pt-BR" b="1" dirty="0">
                <a:solidFill>
                  <a:schemeClr val="bg1">
                    <a:lumMod val="95000"/>
                  </a:schemeClr>
                </a:solidFill>
                <a:latin typeface="Muli"/>
                <a:ea typeface="Muli"/>
                <a:cs typeface="Muli"/>
                <a:sym typeface="Muli"/>
              </a:rPr>
              <a:t>Ana Carolina Martins</a:t>
            </a:r>
            <a:r>
              <a:rPr lang="pt-BR" b="1" dirty="0">
                <a:solidFill>
                  <a:srgbClr val="00E1C6"/>
                </a:solidFill>
                <a:latin typeface="Muli"/>
                <a:ea typeface="Muli"/>
                <a:cs typeface="Muli"/>
                <a:sym typeface="Muli"/>
              </a:rPr>
              <a:t>  		RGM: </a:t>
            </a:r>
            <a:r>
              <a:rPr lang="pt-BR" b="1" dirty="0">
                <a:solidFill>
                  <a:schemeClr val="bg1">
                    <a:lumMod val="95000"/>
                  </a:schemeClr>
                </a:solidFill>
                <a:latin typeface="Muli"/>
                <a:ea typeface="Muli"/>
                <a:cs typeface="Muli"/>
                <a:sym typeface="Muli"/>
              </a:rPr>
              <a:t>01182002</a:t>
            </a:r>
          </a:p>
          <a:p>
            <a:pPr lvl="0" algn="ctr">
              <a:spcBef>
                <a:spcPts val="600"/>
              </a:spcBef>
            </a:pPr>
            <a:r>
              <a:rPr lang="pt-BR" b="1" dirty="0">
                <a:solidFill>
                  <a:srgbClr val="00E1C6"/>
                </a:solidFill>
                <a:latin typeface="Muli"/>
                <a:ea typeface="Muli"/>
                <a:cs typeface="Muli"/>
                <a:sym typeface="Muli"/>
              </a:rPr>
              <a:t>Nome: </a:t>
            </a:r>
            <a:r>
              <a:rPr lang="pt-BR" b="1" dirty="0" err="1">
                <a:solidFill>
                  <a:schemeClr val="bg1">
                    <a:lumMod val="95000"/>
                  </a:schemeClr>
                </a:solidFill>
                <a:latin typeface="Muli"/>
                <a:ea typeface="Muli"/>
                <a:cs typeface="Muli"/>
                <a:sym typeface="Muli"/>
              </a:rPr>
              <a:t>Cristielen</a:t>
            </a:r>
            <a:r>
              <a:rPr lang="pt-BR" b="1" dirty="0">
                <a:solidFill>
                  <a:schemeClr val="bg1">
                    <a:lumMod val="95000"/>
                  </a:schemeClr>
                </a:solidFill>
                <a:latin typeface="Muli"/>
                <a:ea typeface="Muli"/>
                <a:cs typeface="Muli"/>
                <a:sym typeface="Muli"/>
              </a:rPr>
              <a:t> Oliveira de Barros       	</a:t>
            </a:r>
            <a:r>
              <a:rPr lang="pt-BR" b="1" dirty="0">
                <a:solidFill>
                  <a:srgbClr val="00E1C6"/>
                </a:solidFill>
                <a:latin typeface="Muli"/>
                <a:ea typeface="Muli"/>
                <a:cs typeface="Muli"/>
                <a:sym typeface="Muli"/>
              </a:rPr>
              <a:t>RGM: </a:t>
            </a:r>
            <a:r>
              <a:rPr lang="pt-BR" b="1" dirty="0">
                <a:solidFill>
                  <a:schemeClr val="bg1">
                    <a:lumMod val="95000"/>
                  </a:schemeClr>
                </a:solidFill>
                <a:latin typeface="Muli"/>
                <a:ea typeface="Muli"/>
                <a:cs typeface="Muli"/>
                <a:sym typeface="Muli"/>
              </a:rPr>
              <a:t>01182006</a:t>
            </a:r>
          </a:p>
          <a:p>
            <a:pPr lvl="0" algn="ctr">
              <a:spcBef>
                <a:spcPts val="600"/>
              </a:spcBef>
            </a:pPr>
            <a:r>
              <a:rPr lang="pt-BR" b="1" dirty="0">
                <a:solidFill>
                  <a:srgbClr val="00E1C6"/>
                </a:solidFill>
                <a:latin typeface="Muli"/>
                <a:ea typeface="Muli"/>
                <a:cs typeface="Muli"/>
                <a:sym typeface="Muli"/>
              </a:rPr>
              <a:t>Nome: </a:t>
            </a:r>
            <a:r>
              <a:rPr lang="pt-BR" b="1" dirty="0">
                <a:solidFill>
                  <a:schemeClr val="bg1">
                    <a:lumMod val="95000"/>
                  </a:schemeClr>
                </a:solidFill>
                <a:latin typeface="Muli"/>
                <a:ea typeface="Muli"/>
                <a:cs typeface="Muli"/>
                <a:sym typeface="Muli"/>
              </a:rPr>
              <a:t>Rodolfo Gregório Alves de Lima 	</a:t>
            </a:r>
            <a:r>
              <a:rPr lang="pt-BR" b="1" dirty="0">
                <a:solidFill>
                  <a:srgbClr val="00E1C6"/>
                </a:solidFill>
                <a:latin typeface="Muli"/>
                <a:ea typeface="Muli"/>
                <a:cs typeface="Muli"/>
                <a:sym typeface="Muli"/>
              </a:rPr>
              <a:t>RGM: </a:t>
            </a:r>
            <a:r>
              <a:rPr lang="pt-BR" b="1" dirty="0">
                <a:solidFill>
                  <a:schemeClr val="bg1">
                    <a:lumMod val="95000"/>
                  </a:schemeClr>
                </a:solidFill>
                <a:latin typeface="Muli"/>
                <a:ea typeface="Muli"/>
                <a:cs typeface="Muli"/>
                <a:sym typeface="Muli"/>
              </a:rPr>
              <a:t>01182074</a:t>
            </a:r>
          </a:p>
          <a:p>
            <a:pPr lvl="0" algn="ctr">
              <a:spcBef>
                <a:spcPts val="600"/>
              </a:spcBef>
            </a:pPr>
            <a:r>
              <a:rPr lang="pt-BR" b="1" dirty="0">
                <a:solidFill>
                  <a:srgbClr val="00E1C6"/>
                </a:solidFill>
                <a:latin typeface="Muli"/>
                <a:ea typeface="Muli"/>
                <a:cs typeface="Muli"/>
                <a:sym typeface="Muli"/>
              </a:rPr>
              <a:t>Nome: </a:t>
            </a:r>
            <a:r>
              <a:rPr lang="pt-BR" b="1" dirty="0">
                <a:solidFill>
                  <a:schemeClr val="bg1">
                    <a:lumMod val="95000"/>
                  </a:schemeClr>
                </a:solidFill>
                <a:latin typeface="Muli"/>
                <a:ea typeface="Muli"/>
                <a:cs typeface="Muli"/>
                <a:sym typeface="Muli"/>
              </a:rPr>
              <a:t>Victor Ferreira                              	</a:t>
            </a:r>
            <a:r>
              <a:rPr lang="pt-BR" b="1" dirty="0">
                <a:solidFill>
                  <a:srgbClr val="00E1C6"/>
                </a:solidFill>
                <a:latin typeface="Muli"/>
                <a:ea typeface="Muli"/>
                <a:cs typeface="Muli"/>
                <a:sym typeface="Muli"/>
              </a:rPr>
              <a:t>RGM</a:t>
            </a:r>
            <a:r>
              <a:rPr lang="pt-BR" b="1" dirty="0">
                <a:solidFill>
                  <a:schemeClr val="bg1">
                    <a:lumMod val="95000"/>
                  </a:schemeClr>
                </a:solidFill>
                <a:latin typeface="Muli"/>
                <a:ea typeface="Muli"/>
                <a:cs typeface="Muli"/>
                <a:sym typeface="Muli"/>
              </a:rPr>
              <a:t>: 01182104</a:t>
            </a:r>
          </a:p>
          <a:p>
            <a:pPr lvl="0" algn="ctr">
              <a:spcBef>
                <a:spcPts val="600"/>
              </a:spcBef>
            </a:pPr>
            <a:r>
              <a:rPr lang="pt-BR" b="1" dirty="0">
                <a:solidFill>
                  <a:srgbClr val="00E1C6"/>
                </a:solidFill>
                <a:latin typeface="Muli"/>
                <a:ea typeface="Muli"/>
                <a:cs typeface="Muli"/>
                <a:sym typeface="Muli"/>
              </a:rPr>
              <a:t>Nome: </a:t>
            </a:r>
            <a:r>
              <a:rPr lang="pt-BR" b="1" dirty="0" err="1">
                <a:solidFill>
                  <a:schemeClr val="bg1">
                    <a:lumMod val="95000"/>
                  </a:schemeClr>
                </a:solidFill>
                <a:latin typeface="Muli"/>
                <a:ea typeface="Muli"/>
                <a:cs typeface="Muli"/>
                <a:sym typeface="Muli"/>
              </a:rPr>
              <a:t>Wender</a:t>
            </a:r>
            <a:r>
              <a:rPr lang="pt-BR" b="1" dirty="0">
                <a:solidFill>
                  <a:schemeClr val="bg1">
                    <a:lumMod val="95000"/>
                  </a:schemeClr>
                </a:solidFill>
                <a:latin typeface="Muli"/>
                <a:ea typeface="Muli"/>
                <a:cs typeface="Muli"/>
                <a:sym typeface="Muli"/>
              </a:rPr>
              <a:t> Augusto Ramos            	</a:t>
            </a:r>
            <a:r>
              <a:rPr lang="pt-BR" b="1" dirty="0">
                <a:solidFill>
                  <a:srgbClr val="00E1C6"/>
                </a:solidFill>
                <a:latin typeface="Muli"/>
                <a:ea typeface="Muli"/>
                <a:cs typeface="Muli"/>
                <a:sym typeface="Muli"/>
              </a:rPr>
              <a:t>RGM: </a:t>
            </a:r>
            <a:r>
              <a:rPr lang="pt-BR" b="1" dirty="0">
                <a:solidFill>
                  <a:schemeClr val="bg1">
                    <a:lumMod val="95000"/>
                  </a:schemeClr>
                </a:solidFill>
                <a:latin typeface="Muli"/>
                <a:ea typeface="Muli"/>
                <a:cs typeface="Muli"/>
                <a:sym typeface="Muli"/>
              </a:rPr>
              <a:t>01182056</a:t>
            </a:r>
          </a:p>
          <a:p>
            <a:pPr marL="0" lvl="0" indent="0" algn="ctr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100" dirty="0">
              <a:solidFill>
                <a:srgbClr val="C6DAEC"/>
              </a:solidFill>
              <a:latin typeface="Muli"/>
              <a:ea typeface="Muli"/>
              <a:cs typeface="Muli"/>
              <a:sym typeface="Muli"/>
            </a:endParaRPr>
          </a:p>
          <a:p>
            <a:pPr marL="0" lvl="0" indent="0" algn="ctr" rtl="0">
              <a:spcBef>
                <a:spcPts val="600"/>
              </a:spcBef>
              <a:spcAft>
                <a:spcPts val="0"/>
              </a:spcAft>
              <a:buNone/>
            </a:pPr>
            <a:endParaRPr sz="1100" dirty="0">
              <a:solidFill>
                <a:srgbClr val="C6DAEC"/>
              </a:solidFill>
              <a:latin typeface="Muli"/>
              <a:ea typeface="Muli"/>
              <a:cs typeface="Muli"/>
              <a:sym typeface="Muli"/>
            </a:endParaRPr>
          </a:p>
        </p:txBody>
      </p:sp>
      <p:pic>
        <p:nvPicPr>
          <p:cNvPr id="5" name="Image">
            <a:extLst>
              <a:ext uri="{FF2B5EF4-FFF2-40B4-BE49-F238E27FC236}">
                <a16:creationId xmlns:a16="http://schemas.microsoft.com/office/drawing/2014/main" id="{19F04FC8-73C9-47D2-BA35-AA85CB5E7F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7159" y="4474611"/>
            <a:ext cx="1603622" cy="59782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346;p12">
            <a:extLst>
              <a:ext uri="{FF2B5EF4-FFF2-40B4-BE49-F238E27FC236}">
                <a16:creationId xmlns:a16="http://schemas.microsoft.com/office/drawing/2014/main" id="{84F2A4E3-3838-4BC4-93BB-7EA472151EB4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3557" y="4785525"/>
            <a:ext cx="548700" cy="357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4</a:t>
            </a:fld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2432304" y="1863881"/>
            <a:ext cx="4155948" cy="1230143"/>
            <a:chOff x="2432304" y="1863881"/>
            <a:chExt cx="4155948" cy="1230143"/>
          </a:xfrm>
        </p:grpSpPr>
        <p:pic>
          <p:nvPicPr>
            <p:cNvPr id="4" name="Picture 3" descr="https://upload.wikimedia.org/wikipedia/commons/b/be/Lineage_OS_Logo.png"/>
            <p:cNvPicPr/>
            <p:nvPr/>
          </p:nvPicPr>
          <p:blipFill>
            <a:blip r:embed="rId3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3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2404" y="1863881"/>
              <a:ext cx="1001268" cy="53948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" name="TextBox 1"/>
            <p:cNvSpPr txBox="1"/>
            <p:nvPr/>
          </p:nvSpPr>
          <p:spPr>
            <a:xfrm>
              <a:off x="2432304" y="2020485"/>
              <a:ext cx="4155948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0" b="1" dirty="0" err="1" smtClean="0">
                  <a:solidFill>
                    <a:schemeClr val="bg1">
                      <a:lumMod val="85000"/>
                    </a:schemeClr>
                  </a:solidFill>
                  <a:latin typeface="Segoe UI Symbol" panose="020B0502040204020203" pitchFamily="34" charset="0"/>
                  <a:ea typeface="Segoe UI Symbol" panose="020B0502040204020203" pitchFamily="34" charset="0"/>
                  <a:cs typeface="Courier New" panose="02070309020205020404" pitchFamily="49" charset="0"/>
                </a:rPr>
                <a:t>Access</a:t>
              </a:r>
              <a:r>
                <a:rPr lang="en-US" sz="6000" b="1" dirty="0" err="1" smtClean="0">
                  <a:solidFill>
                    <a:srgbClr val="00B050"/>
                  </a:solidFill>
                  <a:latin typeface="Segoe UI Symbol" panose="020B0502040204020203" pitchFamily="34" charset="0"/>
                  <a:ea typeface="Segoe UI Symbol" panose="020B0502040204020203" pitchFamily="34" charset="0"/>
                  <a:cs typeface="Courier New" panose="02070309020205020404" pitchFamily="49" charset="0"/>
                </a:rPr>
                <a:t>Bank</a:t>
              </a:r>
              <a:endParaRPr lang="pt-BR" sz="6000" b="1" dirty="0">
                <a:solidFill>
                  <a:srgbClr val="00B050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Courier New" panose="02070309020205020404" pitchFamily="49" charset="0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3343933" y="2786247"/>
              <a:ext cx="233269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chemeClr val="bg1">
                      <a:lumMod val="75000"/>
                    </a:schemeClr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Banking Technologies</a:t>
              </a:r>
              <a:endParaRPr lang="pt-BR" dirty="0">
                <a:solidFill>
                  <a:schemeClr val="bg1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4645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" name="Google Shape;346;p12"/>
          <p:cNvSpPr txBox="1">
            <a:spLocks noGrp="1"/>
          </p:cNvSpPr>
          <p:nvPr>
            <p:ph type="sldNum" idx="12"/>
          </p:nvPr>
        </p:nvSpPr>
        <p:spPr>
          <a:xfrm>
            <a:off x="8595300" y="4743617"/>
            <a:ext cx="548700" cy="357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5</a:t>
            </a:fld>
            <a:endParaRPr dirty="0"/>
          </a:p>
        </p:txBody>
      </p:sp>
      <p:pic>
        <p:nvPicPr>
          <p:cNvPr id="5" name="Image">
            <a:extLst>
              <a:ext uri="{FF2B5EF4-FFF2-40B4-BE49-F238E27FC236}">
                <a16:creationId xmlns:a16="http://schemas.microsoft.com/office/drawing/2014/main" id="{19F04FC8-73C9-47D2-BA35-AA85CB5E7F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76" y="4632908"/>
            <a:ext cx="1098778" cy="409622"/>
          </a:xfrm>
          <a:prstGeom prst="rect">
            <a:avLst/>
          </a:prstGeom>
        </p:spPr>
      </p:pic>
      <p:sp>
        <p:nvSpPr>
          <p:cNvPr id="60" name="Google Shape;359;p14">
            <a:extLst>
              <a:ext uri="{FF2B5EF4-FFF2-40B4-BE49-F238E27FC236}">
                <a16:creationId xmlns:a16="http://schemas.microsoft.com/office/drawing/2014/main" id="{C168D91F-05EE-4CDE-9B84-5DDA701BDFA9}"/>
              </a:ext>
            </a:extLst>
          </p:cNvPr>
          <p:cNvSpPr txBox="1">
            <a:spLocks/>
          </p:cNvSpPr>
          <p:nvPr/>
        </p:nvSpPr>
        <p:spPr>
          <a:xfrm>
            <a:off x="0" y="317462"/>
            <a:ext cx="9143999" cy="8543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9pPr>
          </a:lstStyle>
          <a:p>
            <a:pPr algn="ctr"/>
            <a:r>
              <a:rPr lang="pt-BR" b="1" dirty="0"/>
              <a:t>Sobre o projeto</a:t>
            </a:r>
          </a:p>
        </p:txBody>
      </p:sp>
      <p:sp>
        <p:nvSpPr>
          <p:cNvPr id="61" name="Google Shape;360;p14">
            <a:extLst>
              <a:ext uri="{FF2B5EF4-FFF2-40B4-BE49-F238E27FC236}">
                <a16:creationId xmlns:a16="http://schemas.microsoft.com/office/drawing/2014/main" id="{1DEACA66-4DD5-425D-9FF1-8FD41B388BD7}"/>
              </a:ext>
            </a:extLst>
          </p:cNvPr>
          <p:cNvSpPr txBox="1">
            <a:spLocks/>
          </p:cNvSpPr>
          <p:nvPr/>
        </p:nvSpPr>
        <p:spPr>
          <a:xfrm>
            <a:off x="1760018" y="1780500"/>
            <a:ext cx="6278902" cy="7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9BBD5"/>
              </a:buClr>
              <a:buSzPts val="1400"/>
              <a:buFont typeface="Muli"/>
              <a:buChar char="◇"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1400"/>
              <a:buFont typeface="Muli"/>
              <a:buChar char="￭"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1400"/>
              <a:buFont typeface="Muli"/>
              <a:buChar char="￮"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1400"/>
              <a:buFont typeface="Muli"/>
              <a:buChar char="●"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1400"/>
              <a:buFont typeface="Muli"/>
              <a:buChar char="○"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6DAEC"/>
              </a:buClr>
              <a:buSzPts val="1400"/>
              <a:buFont typeface="Muli"/>
              <a:buChar char="■"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6DAEC"/>
              </a:buClr>
              <a:buSzPts val="1400"/>
              <a:buFont typeface="Muli"/>
              <a:buChar char="●"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6DAEC"/>
              </a:buClr>
              <a:buSzPts val="1400"/>
              <a:buFont typeface="Muli"/>
              <a:buChar char="○"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6DAEC"/>
              </a:buClr>
              <a:buSzPts val="1400"/>
              <a:buFont typeface="Muli"/>
              <a:buChar char="■"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9pPr>
          </a:lstStyle>
          <a:p>
            <a:pPr marL="0" indent="0" algn="ctr">
              <a:spcBef>
                <a:spcPts val="0"/>
              </a:spcBef>
              <a:buFont typeface="Muli"/>
              <a:buNone/>
            </a:pPr>
            <a:r>
              <a:rPr lang="pt-BR" dirty="0"/>
              <a:t>Monitoramento de componentes de sistemas de caixa eletrônicos, visando a antecipação de problemas e incidentes.</a:t>
            </a:r>
          </a:p>
        </p:txBody>
      </p:sp>
      <p:pic>
        <p:nvPicPr>
          <p:cNvPr id="2050" name="Picture 2" descr="https://cdn0.iconfinder.com/data/icons/shopping-icons-rounded/110/Atm-512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5076" y="2356995"/>
            <a:ext cx="1885138" cy="188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7947660" y="65785"/>
            <a:ext cx="41559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 smtClean="0">
                <a:solidFill>
                  <a:schemeClr val="bg1">
                    <a:lumMod val="85000"/>
                  </a:schemeClr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Courier New" panose="02070309020205020404" pitchFamily="49" charset="0"/>
              </a:rPr>
              <a:t>Access</a:t>
            </a:r>
            <a:r>
              <a:rPr lang="en-US" sz="1600" b="1" dirty="0" err="1" smtClean="0">
                <a:solidFill>
                  <a:srgbClr val="00B050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Courier New" panose="02070309020205020404" pitchFamily="49" charset="0"/>
              </a:rPr>
              <a:t>Bank</a:t>
            </a:r>
            <a:endParaRPr lang="pt-BR" sz="1600" b="1" dirty="0">
              <a:solidFill>
                <a:srgbClr val="00B050"/>
              </a:solidFill>
              <a:latin typeface="Segoe UI Symbol" panose="020B0502040204020203" pitchFamily="34" charset="0"/>
              <a:ea typeface="Segoe UI Symbol" panose="020B0502040204020203" pitchFamily="34" charset="0"/>
              <a:cs typeface="Courier New" panose="02070309020205020404" pitchFamily="49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118246" y="297482"/>
            <a:ext cx="954107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>
                <a:solidFill>
                  <a:schemeClr val="bg1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nking Technologies</a:t>
            </a:r>
            <a:endParaRPr lang="pt-BR" sz="500" dirty="0">
              <a:solidFill>
                <a:schemeClr val="bg1">
                  <a:lumMod val="7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6" name="Picture 15" descr="https://upload.wikimedia.org/wikipedia/commons/b/be/Lineage_OS_Logo.png"/>
          <p:cNvPicPr/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5028" y="0"/>
            <a:ext cx="306324" cy="1676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48156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" name="Google Shape;346;p12"/>
          <p:cNvSpPr txBox="1">
            <a:spLocks noGrp="1"/>
          </p:cNvSpPr>
          <p:nvPr>
            <p:ph type="sldNum" idx="12"/>
          </p:nvPr>
        </p:nvSpPr>
        <p:spPr>
          <a:xfrm>
            <a:off x="8595300" y="4743617"/>
            <a:ext cx="548700" cy="357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6</a:t>
            </a:fld>
            <a:endParaRPr dirty="0"/>
          </a:p>
        </p:txBody>
      </p:sp>
      <p:sp>
        <p:nvSpPr>
          <p:cNvPr id="7" name="Google Shape;445;p24">
            <a:extLst>
              <a:ext uri="{FF2B5EF4-FFF2-40B4-BE49-F238E27FC236}">
                <a16:creationId xmlns:a16="http://schemas.microsoft.com/office/drawing/2014/main" id="{E385A7B9-2F58-4F30-A818-7F24A5D9D8CF}"/>
              </a:ext>
            </a:extLst>
          </p:cNvPr>
          <p:cNvSpPr/>
          <p:nvPr/>
        </p:nvSpPr>
        <p:spPr>
          <a:xfrm>
            <a:off x="1948070" y="3003826"/>
            <a:ext cx="3335130" cy="1739791"/>
          </a:xfrm>
          <a:custGeom>
            <a:avLst/>
            <a:gdLst/>
            <a:ahLst/>
            <a:cxnLst/>
            <a:rect l="l" t="t" r="r" b="b"/>
            <a:pathLst>
              <a:path w="285750" h="136125" extrusionOk="0">
                <a:moveTo>
                  <a:pt x="74830" y="1313"/>
                </a:moveTo>
                <a:lnTo>
                  <a:pt x="74352" y="1330"/>
                </a:lnTo>
                <a:lnTo>
                  <a:pt x="74864" y="1330"/>
                </a:lnTo>
                <a:lnTo>
                  <a:pt x="74830" y="1313"/>
                </a:lnTo>
                <a:close/>
                <a:moveTo>
                  <a:pt x="77830" y="1739"/>
                </a:moveTo>
                <a:lnTo>
                  <a:pt x="77830" y="1739"/>
                </a:lnTo>
                <a:lnTo>
                  <a:pt x="77830" y="1739"/>
                </a:lnTo>
                <a:close/>
                <a:moveTo>
                  <a:pt x="176011" y="1432"/>
                </a:moveTo>
                <a:lnTo>
                  <a:pt x="176114" y="1636"/>
                </a:lnTo>
                <a:lnTo>
                  <a:pt x="175500" y="1841"/>
                </a:lnTo>
                <a:lnTo>
                  <a:pt x="175807" y="1943"/>
                </a:lnTo>
                <a:lnTo>
                  <a:pt x="178875" y="1943"/>
                </a:lnTo>
                <a:lnTo>
                  <a:pt x="178773" y="1636"/>
                </a:lnTo>
                <a:lnTo>
                  <a:pt x="176011" y="1432"/>
                </a:lnTo>
                <a:close/>
                <a:moveTo>
                  <a:pt x="135102" y="1841"/>
                </a:moveTo>
                <a:lnTo>
                  <a:pt x="134898" y="1943"/>
                </a:lnTo>
                <a:lnTo>
                  <a:pt x="135102" y="2045"/>
                </a:lnTo>
                <a:lnTo>
                  <a:pt x="134489" y="2045"/>
                </a:lnTo>
                <a:lnTo>
                  <a:pt x="134795" y="2148"/>
                </a:lnTo>
                <a:lnTo>
                  <a:pt x="134489" y="2148"/>
                </a:lnTo>
                <a:lnTo>
                  <a:pt x="135920" y="2352"/>
                </a:lnTo>
                <a:lnTo>
                  <a:pt x="135307" y="2455"/>
                </a:lnTo>
                <a:lnTo>
                  <a:pt x="137148" y="2557"/>
                </a:lnTo>
                <a:lnTo>
                  <a:pt x="137148" y="2659"/>
                </a:lnTo>
                <a:lnTo>
                  <a:pt x="139500" y="2148"/>
                </a:lnTo>
                <a:lnTo>
                  <a:pt x="137148" y="2045"/>
                </a:lnTo>
                <a:lnTo>
                  <a:pt x="137250" y="1841"/>
                </a:lnTo>
                <a:lnTo>
                  <a:pt x="136739" y="1841"/>
                </a:lnTo>
                <a:lnTo>
                  <a:pt x="136739" y="2045"/>
                </a:lnTo>
                <a:lnTo>
                  <a:pt x="135102" y="1841"/>
                </a:lnTo>
                <a:close/>
                <a:moveTo>
                  <a:pt x="178466" y="2045"/>
                </a:moveTo>
                <a:lnTo>
                  <a:pt x="177443" y="2148"/>
                </a:lnTo>
                <a:lnTo>
                  <a:pt x="177136" y="2455"/>
                </a:lnTo>
                <a:lnTo>
                  <a:pt x="181534" y="2864"/>
                </a:lnTo>
                <a:lnTo>
                  <a:pt x="181534" y="2864"/>
                </a:lnTo>
                <a:lnTo>
                  <a:pt x="180716" y="2659"/>
                </a:lnTo>
                <a:lnTo>
                  <a:pt x="181023" y="2659"/>
                </a:lnTo>
                <a:lnTo>
                  <a:pt x="180818" y="2250"/>
                </a:lnTo>
                <a:lnTo>
                  <a:pt x="178466" y="2045"/>
                </a:lnTo>
                <a:close/>
                <a:moveTo>
                  <a:pt x="75068" y="3170"/>
                </a:moveTo>
                <a:lnTo>
                  <a:pt x="74870" y="3225"/>
                </a:lnTo>
                <a:lnTo>
                  <a:pt x="75022" y="3201"/>
                </a:lnTo>
                <a:lnTo>
                  <a:pt x="75022" y="3201"/>
                </a:lnTo>
                <a:lnTo>
                  <a:pt x="75068" y="3170"/>
                </a:lnTo>
                <a:close/>
                <a:moveTo>
                  <a:pt x="72920" y="1227"/>
                </a:moveTo>
                <a:lnTo>
                  <a:pt x="72102" y="1330"/>
                </a:lnTo>
                <a:lnTo>
                  <a:pt x="72511" y="1330"/>
                </a:lnTo>
                <a:lnTo>
                  <a:pt x="70977" y="1534"/>
                </a:lnTo>
                <a:lnTo>
                  <a:pt x="71591" y="1739"/>
                </a:lnTo>
                <a:lnTo>
                  <a:pt x="70364" y="1739"/>
                </a:lnTo>
                <a:lnTo>
                  <a:pt x="70568" y="1841"/>
                </a:lnTo>
                <a:lnTo>
                  <a:pt x="70057" y="1943"/>
                </a:lnTo>
                <a:lnTo>
                  <a:pt x="71080" y="2045"/>
                </a:lnTo>
                <a:lnTo>
                  <a:pt x="69648" y="2045"/>
                </a:lnTo>
                <a:lnTo>
                  <a:pt x="69750" y="2352"/>
                </a:lnTo>
                <a:lnTo>
                  <a:pt x="70670" y="2352"/>
                </a:lnTo>
                <a:lnTo>
                  <a:pt x="69545" y="2557"/>
                </a:lnTo>
                <a:lnTo>
                  <a:pt x="70568" y="2557"/>
                </a:lnTo>
                <a:lnTo>
                  <a:pt x="70466" y="2659"/>
                </a:lnTo>
                <a:lnTo>
                  <a:pt x="72102" y="2557"/>
                </a:lnTo>
                <a:lnTo>
                  <a:pt x="70773" y="2761"/>
                </a:lnTo>
                <a:lnTo>
                  <a:pt x="70466" y="2966"/>
                </a:lnTo>
                <a:lnTo>
                  <a:pt x="70159" y="3068"/>
                </a:lnTo>
                <a:lnTo>
                  <a:pt x="70977" y="3170"/>
                </a:lnTo>
                <a:lnTo>
                  <a:pt x="70364" y="3273"/>
                </a:lnTo>
                <a:lnTo>
                  <a:pt x="72102" y="3477"/>
                </a:lnTo>
                <a:lnTo>
                  <a:pt x="72102" y="3170"/>
                </a:lnTo>
                <a:lnTo>
                  <a:pt x="72307" y="3273"/>
                </a:lnTo>
                <a:lnTo>
                  <a:pt x="73330" y="3170"/>
                </a:lnTo>
                <a:lnTo>
                  <a:pt x="73227" y="3068"/>
                </a:lnTo>
                <a:lnTo>
                  <a:pt x="73739" y="2864"/>
                </a:lnTo>
                <a:lnTo>
                  <a:pt x="73432" y="3068"/>
                </a:lnTo>
                <a:lnTo>
                  <a:pt x="75580" y="2557"/>
                </a:lnTo>
                <a:lnTo>
                  <a:pt x="74557" y="2455"/>
                </a:lnTo>
                <a:lnTo>
                  <a:pt x="74659" y="2045"/>
                </a:lnTo>
                <a:lnTo>
                  <a:pt x="74966" y="1841"/>
                </a:lnTo>
                <a:lnTo>
                  <a:pt x="74352" y="1943"/>
                </a:lnTo>
                <a:lnTo>
                  <a:pt x="74455" y="2045"/>
                </a:lnTo>
                <a:lnTo>
                  <a:pt x="73534" y="1739"/>
                </a:lnTo>
                <a:lnTo>
                  <a:pt x="73534" y="1636"/>
                </a:lnTo>
                <a:lnTo>
                  <a:pt x="72920" y="1227"/>
                </a:lnTo>
                <a:close/>
                <a:moveTo>
                  <a:pt x="74870" y="3225"/>
                </a:moveTo>
                <a:lnTo>
                  <a:pt x="73227" y="3477"/>
                </a:lnTo>
                <a:lnTo>
                  <a:pt x="74301" y="3380"/>
                </a:lnTo>
                <a:lnTo>
                  <a:pt x="74301" y="3380"/>
                </a:lnTo>
                <a:lnTo>
                  <a:pt x="74870" y="3225"/>
                </a:lnTo>
                <a:close/>
                <a:moveTo>
                  <a:pt x="74352" y="3375"/>
                </a:moveTo>
                <a:lnTo>
                  <a:pt x="74301" y="3380"/>
                </a:lnTo>
                <a:lnTo>
                  <a:pt x="74301" y="3380"/>
                </a:lnTo>
                <a:lnTo>
                  <a:pt x="73943" y="3477"/>
                </a:lnTo>
                <a:lnTo>
                  <a:pt x="74352" y="3375"/>
                </a:lnTo>
                <a:close/>
                <a:moveTo>
                  <a:pt x="182148" y="2557"/>
                </a:moveTo>
                <a:lnTo>
                  <a:pt x="182250" y="2966"/>
                </a:lnTo>
                <a:lnTo>
                  <a:pt x="182148" y="3170"/>
                </a:lnTo>
                <a:lnTo>
                  <a:pt x="182045" y="3580"/>
                </a:lnTo>
                <a:lnTo>
                  <a:pt x="185114" y="3170"/>
                </a:lnTo>
                <a:lnTo>
                  <a:pt x="183682" y="2761"/>
                </a:lnTo>
                <a:lnTo>
                  <a:pt x="183170" y="2864"/>
                </a:lnTo>
                <a:lnTo>
                  <a:pt x="182966" y="2761"/>
                </a:lnTo>
                <a:lnTo>
                  <a:pt x="183068" y="2659"/>
                </a:lnTo>
                <a:lnTo>
                  <a:pt x="182455" y="2557"/>
                </a:lnTo>
                <a:lnTo>
                  <a:pt x="182455" y="2557"/>
                </a:lnTo>
                <a:lnTo>
                  <a:pt x="182557" y="2659"/>
                </a:lnTo>
                <a:lnTo>
                  <a:pt x="182148" y="2557"/>
                </a:lnTo>
                <a:close/>
                <a:moveTo>
                  <a:pt x="64739" y="2557"/>
                </a:moveTo>
                <a:lnTo>
                  <a:pt x="63614" y="2864"/>
                </a:lnTo>
                <a:lnTo>
                  <a:pt x="64023" y="2864"/>
                </a:lnTo>
                <a:lnTo>
                  <a:pt x="63716" y="2966"/>
                </a:lnTo>
                <a:lnTo>
                  <a:pt x="63716" y="2966"/>
                </a:lnTo>
                <a:lnTo>
                  <a:pt x="64432" y="2864"/>
                </a:lnTo>
                <a:lnTo>
                  <a:pt x="64125" y="2966"/>
                </a:lnTo>
                <a:lnTo>
                  <a:pt x="64534" y="3068"/>
                </a:lnTo>
                <a:lnTo>
                  <a:pt x="64125" y="3068"/>
                </a:lnTo>
                <a:lnTo>
                  <a:pt x="64330" y="3170"/>
                </a:lnTo>
                <a:lnTo>
                  <a:pt x="63511" y="3375"/>
                </a:lnTo>
                <a:lnTo>
                  <a:pt x="65352" y="3477"/>
                </a:lnTo>
                <a:lnTo>
                  <a:pt x="65352" y="3580"/>
                </a:lnTo>
                <a:lnTo>
                  <a:pt x="66068" y="3682"/>
                </a:lnTo>
                <a:lnTo>
                  <a:pt x="66273" y="3375"/>
                </a:lnTo>
                <a:lnTo>
                  <a:pt x="66580" y="3170"/>
                </a:lnTo>
                <a:lnTo>
                  <a:pt x="65966" y="2966"/>
                </a:lnTo>
                <a:lnTo>
                  <a:pt x="66068" y="2864"/>
                </a:lnTo>
                <a:lnTo>
                  <a:pt x="65148" y="2966"/>
                </a:lnTo>
                <a:lnTo>
                  <a:pt x="65148" y="2864"/>
                </a:lnTo>
                <a:lnTo>
                  <a:pt x="64739" y="2557"/>
                </a:lnTo>
                <a:close/>
                <a:moveTo>
                  <a:pt x="67705" y="2966"/>
                </a:moveTo>
                <a:lnTo>
                  <a:pt x="67295" y="3273"/>
                </a:lnTo>
                <a:lnTo>
                  <a:pt x="67705" y="3477"/>
                </a:lnTo>
                <a:lnTo>
                  <a:pt x="67398" y="3682"/>
                </a:lnTo>
                <a:lnTo>
                  <a:pt x="69136" y="3273"/>
                </a:lnTo>
                <a:lnTo>
                  <a:pt x="67705" y="2966"/>
                </a:lnTo>
                <a:close/>
                <a:moveTo>
                  <a:pt x="136943" y="3170"/>
                </a:moveTo>
                <a:lnTo>
                  <a:pt x="135818" y="3273"/>
                </a:lnTo>
                <a:lnTo>
                  <a:pt x="136841" y="3682"/>
                </a:lnTo>
                <a:lnTo>
                  <a:pt x="136432" y="3886"/>
                </a:lnTo>
                <a:lnTo>
                  <a:pt x="137557" y="3886"/>
                </a:lnTo>
                <a:lnTo>
                  <a:pt x="137352" y="3989"/>
                </a:lnTo>
                <a:lnTo>
                  <a:pt x="137761" y="4091"/>
                </a:lnTo>
                <a:lnTo>
                  <a:pt x="138784" y="3784"/>
                </a:lnTo>
                <a:lnTo>
                  <a:pt x="137659" y="3477"/>
                </a:lnTo>
                <a:lnTo>
                  <a:pt x="137761" y="3477"/>
                </a:lnTo>
                <a:lnTo>
                  <a:pt x="137148" y="3375"/>
                </a:lnTo>
                <a:lnTo>
                  <a:pt x="136943" y="3170"/>
                </a:lnTo>
                <a:close/>
                <a:moveTo>
                  <a:pt x="131114" y="2250"/>
                </a:moveTo>
                <a:lnTo>
                  <a:pt x="131114" y="2352"/>
                </a:lnTo>
                <a:lnTo>
                  <a:pt x="130295" y="2352"/>
                </a:lnTo>
                <a:lnTo>
                  <a:pt x="131318" y="2864"/>
                </a:lnTo>
                <a:lnTo>
                  <a:pt x="130705" y="2864"/>
                </a:lnTo>
                <a:lnTo>
                  <a:pt x="131625" y="3375"/>
                </a:lnTo>
                <a:lnTo>
                  <a:pt x="132648" y="3273"/>
                </a:lnTo>
                <a:lnTo>
                  <a:pt x="132545" y="3170"/>
                </a:lnTo>
                <a:lnTo>
                  <a:pt x="132545" y="3068"/>
                </a:lnTo>
                <a:lnTo>
                  <a:pt x="132955" y="3068"/>
                </a:lnTo>
                <a:lnTo>
                  <a:pt x="133261" y="3273"/>
                </a:lnTo>
                <a:lnTo>
                  <a:pt x="133875" y="3068"/>
                </a:lnTo>
                <a:lnTo>
                  <a:pt x="133670" y="3170"/>
                </a:lnTo>
                <a:lnTo>
                  <a:pt x="134080" y="3273"/>
                </a:lnTo>
                <a:lnTo>
                  <a:pt x="132443" y="3580"/>
                </a:lnTo>
                <a:lnTo>
                  <a:pt x="132750" y="3784"/>
                </a:lnTo>
                <a:lnTo>
                  <a:pt x="134080" y="3784"/>
                </a:lnTo>
                <a:lnTo>
                  <a:pt x="132545" y="4091"/>
                </a:lnTo>
                <a:lnTo>
                  <a:pt x="134284" y="4602"/>
                </a:lnTo>
                <a:lnTo>
                  <a:pt x="134386" y="4398"/>
                </a:lnTo>
                <a:lnTo>
                  <a:pt x="134284" y="4295"/>
                </a:lnTo>
                <a:lnTo>
                  <a:pt x="134898" y="3886"/>
                </a:lnTo>
                <a:lnTo>
                  <a:pt x="134898" y="3580"/>
                </a:lnTo>
                <a:lnTo>
                  <a:pt x="135205" y="3477"/>
                </a:lnTo>
                <a:lnTo>
                  <a:pt x="135511" y="3170"/>
                </a:lnTo>
                <a:lnTo>
                  <a:pt x="136432" y="3068"/>
                </a:lnTo>
                <a:lnTo>
                  <a:pt x="135920" y="2864"/>
                </a:lnTo>
                <a:lnTo>
                  <a:pt x="136023" y="2761"/>
                </a:lnTo>
                <a:lnTo>
                  <a:pt x="134795" y="2659"/>
                </a:lnTo>
                <a:lnTo>
                  <a:pt x="134795" y="2455"/>
                </a:lnTo>
                <a:lnTo>
                  <a:pt x="134182" y="2557"/>
                </a:lnTo>
                <a:lnTo>
                  <a:pt x="134386" y="2352"/>
                </a:lnTo>
                <a:lnTo>
                  <a:pt x="133261" y="2250"/>
                </a:lnTo>
                <a:lnTo>
                  <a:pt x="133261" y="2250"/>
                </a:lnTo>
                <a:lnTo>
                  <a:pt x="133568" y="2864"/>
                </a:lnTo>
                <a:lnTo>
                  <a:pt x="133568" y="2864"/>
                </a:lnTo>
                <a:lnTo>
                  <a:pt x="132750" y="2455"/>
                </a:lnTo>
                <a:lnTo>
                  <a:pt x="131318" y="2455"/>
                </a:lnTo>
                <a:lnTo>
                  <a:pt x="131932" y="2250"/>
                </a:lnTo>
                <a:close/>
                <a:moveTo>
                  <a:pt x="66682" y="4398"/>
                </a:moveTo>
                <a:lnTo>
                  <a:pt x="66784" y="4500"/>
                </a:lnTo>
                <a:lnTo>
                  <a:pt x="66477" y="4500"/>
                </a:lnTo>
                <a:lnTo>
                  <a:pt x="67091" y="4705"/>
                </a:lnTo>
                <a:lnTo>
                  <a:pt x="66784" y="4705"/>
                </a:lnTo>
                <a:lnTo>
                  <a:pt x="68232" y="4795"/>
                </a:lnTo>
                <a:lnTo>
                  <a:pt x="68232" y="4795"/>
                </a:lnTo>
                <a:lnTo>
                  <a:pt x="68625" y="4500"/>
                </a:lnTo>
                <a:lnTo>
                  <a:pt x="66682" y="4398"/>
                </a:lnTo>
                <a:close/>
                <a:moveTo>
                  <a:pt x="68232" y="4795"/>
                </a:moveTo>
                <a:lnTo>
                  <a:pt x="68216" y="4807"/>
                </a:lnTo>
                <a:lnTo>
                  <a:pt x="68324" y="4801"/>
                </a:lnTo>
                <a:lnTo>
                  <a:pt x="68324" y="4801"/>
                </a:lnTo>
                <a:lnTo>
                  <a:pt x="68232" y="4795"/>
                </a:lnTo>
                <a:close/>
                <a:moveTo>
                  <a:pt x="71489" y="4500"/>
                </a:moveTo>
                <a:lnTo>
                  <a:pt x="70568" y="4705"/>
                </a:lnTo>
                <a:lnTo>
                  <a:pt x="71080" y="4807"/>
                </a:lnTo>
                <a:lnTo>
                  <a:pt x="71489" y="4500"/>
                </a:lnTo>
                <a:close/>
                <a:moveTo>
                  <a:pt x="81102" y="205"/>
                </a:moveTo>
                <a:lnTo>
                  <a:pt x="81614" y="409"/>
                </a:lnTo>
                <a:lnTo>
                  <a:pt x="80386" y="307"/>
                </a:lnTo>
                <a:lnTo>
                  <a:pt x="80489" y="409"/>
                </a:lnTo>
                <a:lnTo>
                  <a:pt x="79773" y="409"/>
                </a:lnTo>
                <a:lnTo>
                  <a:pt x="79977" y="511"/>
                </a:lnTo>
                <a:lnTo>
                  <a:pt x="79466" y="511"/>
                </a:lnTo>
                <a:lnTo>
                  <a:pt x="80693" y="920"/>
                </a:lnTo>
                <a:lnTo>
                  <a:pt x="80693" y="920"/>
                </a:lnTo>
                <a:lnTo>
                  <a:pt x="79159" y="716"/>
                </a:lnTo>
                <a:lnTo>
                  <a:pt x="77011" y="716"/>
                </a:lnTo>
                <a:lnTo>
                  <a:pt x="77727" y="818"/>
                </a:lnTo>
                <a:lnTo>
                  <a:pt x="73841" y="1023"/>
                </a:lnTo>
                <a:lnTo>
                  <a:pt x="73943" y="1125"/>
                </a:lnTo>
                <a:lnTo>
                  <a:pt x="74864" y="1023"/>
                </a:lnTo>
                <a:lnTo>
                  <a:pt x="74864" y="1023"/>
                </a:lnTo>
                <a:lnTo>
                  <a:pt x="74250" y="1125"/>
                </a:lnTo>
                <a:lnTo>
                  <a:pt x="75989" y="1125"/>
                </a:lnTo>
                <a:lnTo>
                  <a:pt x="74659" y="1227"/>
                </a:lnTo>
                <a:lnTo>
                  <a:pt x="74830" y="1313"/>
                </a:lnTo>
                <a:lnTo>
                  <a:pt x="74830" y="1313"/>
                </a:lnTo>
                <a:lnTo>
                  <a:pt x="77216" y="1227"/>
                </a:lnTo>
                <a:lnTo>
                  <a:pt x="74557" y="1534"/>
                </a:lnTo>
                <a:lnTo>
                  <a:pt x="74557" y="1534"/>
                </a:lnTo>
                <a:lnTo>
                  <a:pt x="78034" y="1330"/>
                </a:lnTo>
                <a:lnTo>
                  <a:pt x="75784" y="1739"/>
                </a:lnTo>
                <a:lnTo>
                  <a:pt x="75784" y="1739"/>
                </a:lnTo>
                <a:lnTo>
                  <a:pt x="78341" y="1636"/>
                </a:lnTo>
                <a:lnTo>
                  <a:pt x="78341" y="1636"/>
                </a:lnTo>
                <a:lnTo>
                  <a:pt x="77830" y="1739"/>
                </a:lnTo>
                <a:lnTo>
                  <a:pt x="81818" y="1125"/>
                </a:lnTo>
                <a:lnTo>
                  <a:pt x="81818" y="1125"/>
                </a:lnTo>
                <a:lnTo>
                  <a:pt x="80386" y="1534"/>
                </a:lnTo>
                <a:lnTo>
                  <a:pt x="81409" y="1534"/>
                </a:lnTo>
                <a:lnTo>
                  <a:pt x="77523" y="1943"/>
                </a:lnTo>
                <a:lnTo>
                  <a:pt x="78648" y="2352"/>
                </a:lnTo>
                <a:lnTo>
                  <a:pt x="78648" y="2352"/>
                </a:lnTo>
                <a:lnTo>
                  <a:pt x="75375" y="2045"/>
                </a:lnTo>
                <a:lnTo>
                  <a:pt x="75375" y="2352"/>
                </a:lnTo>
                <a:lnTo>
                  <a:pt x="76193" y="2761"/>
                </a:lnTo>
                <a:lnTo>
                  <a:pt x="75682" y="2761"/>
                </a:lnTo>
                <a:lnTo>
                  <a:pt x="77216" y="2864"/>
                </a:lnTo>
                <a:lnTo>
                  <a:pt x="75022" y="3201"/>
                </a:lnTo>
                <a:lnTo>
                  <a:pt x="75022" y="3201"/>
                </a:lnTo>
                <a:lnTo>
                  <a:pt x="74761" y="3375"/>
                </a:lnTo>
                <a:lnTo>
                  <a:pt x="75170" y="3477"/>
                </a:lnTo>
                <a:lnTo>
                  <a:pt x="74148" y="3682"/>
                </a:lnTo>
                <a:lnTo>
                  <a:pt x="74045" y="3886"/>
                </a:lnTo>
                <a:lnTo>
                  <a:pt x="75989" y="3580"/>
                </a:lnTo>
                <a:lnTo>
                  <a:pt x="73739" y="3989"/>
                </a:lnTo>
                <a:lnTo>
                  <a:pt x="73432" y="3682"/>
                </a:lnTo>
                <a:lnTo>
                  <a:pt x="72716" y="3682"/>
                </a:lnTo>
                <a:lnTo>
                  <a:pt x="72818" y="4193"/>
                </a:lnTo>
                <a:lnTo>
                  <a:pt x="71489" y="4500"/>
                </a:lnTo>
                <a:lnTo>
                  <a:pt x="71489" y="4500"/>
                </a:lnTo>
                <a:lnTo>
                  <a:pt x="71489" y="4500"/>
                </a:lnTo>
                <a:lnTo>
                  <a:pt x="71284" y="4807"/>
                </a:lnTo>
                <a:lnTo>
                  <a:pt x="71898" y="4705"/>
                </a:lnTo>
                <a:lnTo>
                  <a:pt x="71898" y="4807"/>
                </a:lnTo>
                <a:lnTo>
                  <a:pt x="75784" y="4807"/>
                </a:lnTo>
                <a:lnTo>
                  <a:pt x="75477" y="5011"/>
                </a:lnTo>
                <a:lnTo>
                  <a:pt x="75477" y="5011"/>
                </a:lnTo>
                <a:lnTo>
                  <a:pt x="77318" y="4705"/>
                </a:lnTo>
                <a:lnTo>
                  <a:pt x="77727" y="4398"/>
                </a:lnTo>
                <a:lnTo>
                  <a:pt x="77114" y="4398"/>
                </a:lnTo>
                <a:lnTo>
                  <a:pt x="77216" y="4193"/>
                </a:lnTo>
                <a:lnTo>
                  <a:pt x="75682" y="4091"/>
                </a:lnTo>
                <a:lnTo>
                  <a:pt x="76193" y="4091"/>
                </a:lnTo>
                <a:lnTo>
                  <a:pt x="76091" y="3989"/>
                </a:lnTo>
                <a:lnTo>
                  <a:pt x="78341" y="3886"/>
                </a:lnTo>
                <a:lnTo>
                  <a:pt x="78545" y="3580"/>
                </a:lnTo>
                <a:lnTo>
                  <a:pt x="80489" y="3375"/>
                </a:lnTo>
                <a:lnTo>
                  <a:pt x="79977" y="3170"/>
                </a:lnTo>
                <a:lnTo>
                  <a:pt x="81205" y="3068"/>
                </a:lnTo>
                <a:lnTo>
                  <a:pt x="79159" y="2761"/>
                </a:lnTo>
                <a:lnTo>
                  <a:pt x="81614" y="2659"/>
                </a:lnTo>
                <a:lnTo>
                  <a:pt x="80386" y="2455"/>
                </a:lnTo>
                <a:lnTo>
                  <a:pt x="82534" y="2352"/>
                </a:lnTo>
                <a:lnTo>
                  <a:pt x="81920" y="2250"/>
                </a:lnTo>
                <a:lnTo>
                  <a:pt x="83966" y="2250"/>
                </a:lnTo>
                <a:lnTo>
                  <a:pt x="83864" y="2148"/>
                </a:lnTo>
                <a:lnTo>
                  <a:pt x="84375" y="2045"/>
                </a:lnTo>
                <a:lnTo>
                  <a:pt x="83557" y="2045"/>
                </a:lnTo>
                <a:lnTo>
                  <a:pt x="84682" y="1943"/>
                </a:lnTo>
                <a:lnTo>
                  <a:pt x="84580" y="1739"/>
                </a:lnTo>
                <a:lnTo>
                  <a:pt x="88466" y="1125"/>
                </a:lnTo>
                <a:lnTo>
                  <a:pt x="86216" y="1330"/>
                </a:lnTo>
                <a:lnTo>
                  <a:pt x="90920" y="614"/>
                </a:lnTo>
                <a:lnTo>
                  <a:pt x="89898" y="511"/>
                </a:lnTo>
                <a:lnTo>
                  <a:pt x="90000" y="409"/>
                </a:lnTo>
                <a:lnTo>
                  <a:pt x="89795" y="409"/>
                </a:lnTo>
                <a:lnTo>
                  <a:pt x="89898" y="307"/>
                </a:lnTo>
                <a:lnTo>
                  <a:pt x="89898" y="307"/>
                </a:lnTo>
                <a:lnTo>
                  <a:pt x="87136" y="409"/>
                </a:lnTo>
                <a:lnTo>
                  <a:pt x="88466" y="205"/>
                </a:lnTo>
                <a:lnTo>
                  <a:pt x="84682" y="205"/>
                </a:lnTo>
                <a:lnTo>
                  <a:pt x="84989" y="409"/>
                </a:lnTo>
                <a:lnTo>
                  <a:pt x="82739" y="205"/>
                </a:lnTo>
                <a:lnTo>
                  <a:pt x="83352" y="409"/>
                </a:lnTo>
                <a:lnTo>
                  <a:pt x="83352" y="409"/>
                </a:lnTo>
                <a:lnTo>
                  <a:pt x="81102" y="205"/>
                </a:lnTo>
                <a:close/>
                <a:moveTo>
                  <a:pt x="62898" y="4909"/>
                </a:moveTo>
                <a:lnTo>
                  <a:pt x="63205" y="5011"/>
                </a:lnTo>
                <a:lnTo>
                  <a:pt x="63205" y="4909"/>
                </a:lnTo>
                <a:close/>
                <a:moveTo>
                  <a:pt x="55227" y="3989"/>
                </a:moveTo>
                <a:lnTo>
                  <a:pt x="55330" y="4091"/>
                </a:lnTo>
                <a:lnTo>
                  <a:pt x="50318" y="5011"/>
                </a:lnTo>
                <a:lnTo>
                  <a:pt x="50523" y="5011"/>
                </a:lnTo>
                <a:lnTo>
                  <a:pt x="50318" y="5216"/>
                </a:lnTo>
                <a:lnTo>
                  <a:pt x="50318" y="5216"/>
                </a:lnTo>
                <a:lnTo>
                  <a:pt x="51545" y="5011"/>
                </a:lnTo>
                <a:lnTo>
                  <a:pt x="51443" y="5318"/>
                </a:lnTo>
                <a:lnTo>
                  <a:pt x="54102" y="4500"/>
                </a:lnTo>
                <a:lnTo>
                  <a:pt x="53591" y="4909"/>
                </a:lnTo>
                <a:lnTo>
                  <a:pt x="53591" y="4909"/>
                </a:lnTo>
                <a:lnTo>
                  <a:pt x="56045" y="4091"/>
                </a:lnTo>
                <a:lnTo>
                  <a:pt x="55227" y="3989"/>
                </a:lnTo>
                <a:close/>
                <a:moveTo>
                  <a:pt x="65761" y="4705"/>
                </a:moveTo>
                <a:lnTo>
                  <a:pt x="63818" y="4807"/>
                </a:lnTo>
                <a:lnTo>
                  <a:pt x="64227" y="4909"/>
                </a:lnTo>
                <a:lnTo>
                  <a:pt x="63920" y="4909"/>
                </a:lnTo>
                <a:lnTo>
                  <a:pt x="64330" y="5011"/>
                </a:lnTo>
                <a:lnTo>
                  <a:pt x="64023" y="5216"/>
                </a:lnTo>
                <a:lnTo>
                  <a:pt x="63205" y="5011"/>
                </a:lnTo>
                <a:lnTo>
                  <a:pt x="62898" y="5114"/>
                </a:lnTo>
                <a:lnTo>
                  <a:pt x="63000" y="5114"/>
                </a:lnTo>
                <a:lnTo>
                  <a:pt x="63102" y="5318"/>
                </a:lnTo>
                <a:lnTo>
                  <a:pt x="63102" y="5318"/>
                </a:lnTo>
                <a:lnTo>
                  <a:pt x="62489" y="5216"/>
                </a:lnTo>
                <a:lnTo>
                  <a:pt x="61875" y="5420"/>
                </a:lnTo>
                <a:lnTo>
                  <a:pt x="64125" y="5420"/>
                </a:lnTo>
                <a:lnTo>
                  <a:pt x="62898" y="5625"/>
                </a:lnTo>
                <a:lnTo>
                  <a:pt x="63102" y="5727"/>
                </a:lnTo>
                <a:lnTo>
                  <a:pt x="63000" y="5932"/>
                </a:lnTo>
                <a:lnTo>
                  <a:pt x="63000" y="5932"/>
                </a:lnTo>
                <a:lnTo>
                  <a:pt x="65148" y="5420"/>
                </a:lnTo>
                <a:lnTo>
                  <a:pt x="64943" y="5318"/>
                </a:lnTo>
                <a:lnTo>
                  <a:pt x="65761" y="4705"/>
                </a:lnTo>
                <a:close/>
                <a:moveTo>
                  <a:pt x="209148" y="5011"/>
                </a:moveTo>
                <a:lnTo>
                  <a:pt x="209455" y="5420"/>
                </a:lnTo>
                <a:lnTo>
                  <a:pt x="207102" y="5216"/>
                </a:lnTo>
                <a:lnTo>
                  <a:pt x="207409" y="5318"/>
                </a:lnTo>
                <a:lnTo>
                  <a:pt x="207205" y="5318"/>
                </a:lnTo>
                <a:lnTo>
                  <a:pt x="207716" y="5625"/>
                </a:lnTo>
                <a:lnTo>
                  <a:pt x="207511" y="5625"/>
                </a:lnTo>
                <a:lnTo>
                  <a:pt x="211705" y="5932"/>
                </a:lnTo>
                <a:lnTo>
                  <a:pt x="210170" y="5420"/>
                </a:lnTo>
                <a:lnTo>
                  <a:pt x="210170" y="5420"/>
                </a:lnTo>
                <a:lnTo>
                  <a:pt x="212420" y="5727"/>
                </a:lnTo>
                <a:lnTo>
                  <a:pt x="212318" y="5523"/>
                </a:lnTo>
                <a:lnTo>
                  <a:pt x="209148" y="5011"/>
                </a:lnTo>
                <a:close/>
                <a:moveTo>
                  <a:pt x="65148" y="5932"/>
                </a:moveTo>
                <a:lnTo>
                  <a:pt x="65966" y="6239"/>
                </a:lnTo>
                <a:lnTo>
                  <a:pt x="66989" y="5932"/>
                </a:lnTo>
                <a:close/>
                <a:moveTo>
                  <a:pt x="59523" y="4500"/>
                </a:moveTo>
                <a:lnTo>
                  <a:pt x="58193" y="4807"/>
                </a:lnTo>
                <a:lnTo>
                  <a:pt x="58295" y="5011"/>
                </a:lnTo>
                <a:lnTo>
                  <a:pt x="57886" y="5216"/>
                </a:lnTo>
                <a:lnTo>
                  <a:pt x="58193" y="5420"/>
                </a:lnTo>
                <a:lnTo>
                  <a:pt x="56455" y="5216"/>
                </a:lnTo>
                <a:lnTo>
                  <a:pt x="56659" y="5216"/>
                </a:lnTo>
                <a:lnTo>
                  <a:pt x="55739" y="4909"/>
                </a:lnTo>
                <a:lnTo>
                  <a:pt x="55841" y="4807"/>
                </a:lnTo>
                <a:lnTo>
                  <a:pt x="54716" y="4909"/>
                </a:lnTo>
                <a:lnTo>
                  <a:pt x="55227" y="5011"/>
                </a:lnTo>
                <a:lnTo>
                  <a:pt x="53795" y="5216"/>
                </a:lnTo>
                <a:lnTo>
                  <a:pt x="54818" y="5216"/>
                </a:lnTo>
                <a:lnTo>
                  <a:pt x="53182" y="5420"/>
                </a:lnTo>
                <a:lnTo>
                  <a:pt x="54511" y="5318"/>
                </a:lnTo>
                <a:lnTo>
                  <a:pt x="52466" y="5727"/>
                </a:lnTo>
                <a:lnTo>
                  <a:pt x="53386" y="5932"/>
                </a:lnTo>
                <a:lnTo>
                  <a:pt x="53693" y="5830"/>
                </a:lnTo>
                <a:lnTo>
                  <a:pt x="53898" y="5932"/>
                </a:lnTo>
                <a:lnTo>
                  <a:pt x="54307" y="5830"/>
                </a:lnTo>
                <a:lnTo>
                  <a:pt x="54409" y="5727"/>
                </a:lnTo>
                <a:lnTo>
                  <a:pt x="55227" y="5625"/>
                </a:lnTo>
                <a:lnTo>
                  <a:pt x="54614" y="5830"/>
                </a:lnTo>
                <a:lnTo>
                  <a:pt x="56455" y="5727"/>
                </a:lnTo>
                <a:lnTo>
                  <a:pt x="56455" y="5727"/>
                </a:lnTo>
                <a:lnTo>
                  <a:pt x="54102" y="6136"/>
                </a:lnTo>
                <a:lnTo>
                  <a:pt x="54102" y="6341"/>
                </a:lnTo>
                <a:lnTo>
                  <a:pt x="57784" y="5932"/>
                </a:lnTo>
                <a:lnTo>
                  <a:pt x="57682" y="5932"/>
                </a:lnTo>
                <a:lnTo>
                  <a:pt x="59625" y="5727"/>
                </a:lnTo>
                <a:lnTo>
                  <a:pt x="60443" y="5114"/>
                </a:lnTo>
                <a:lnTo>
                  <a:pt x="58909" y="5318"/>
                </a:lnTo>
                <a:lnTo>
                  <a:pt x="59216" y="5114"/>
                </a:lnTo>
                <a:lnTo>
                  <a:pt x="58909" y="5114"/>
                </a:lnTo>
                <a:lnTo>
                  <a:pt x="59523" y="4500"/>
                </a:lnTo>
                <a:close/>
                <a:moveTo>
                  <a:pt x="70057" y="4705"/>
                </a:moveTo>
                <a:lnTo>
                  <a:pt x="68324" y="4801"/>
                </a:lnTo>
                <a:lnTo>
                  <a:pt x="68324" y="4801"/>
                </a:lnTo>
                <a:lnTo>
                  <a:pt x="68420" y="4807"/>
                </a:lnTo>
                <a:lnTo>
                  <a:pt x="68420" y="5318"/>
                </a:lnTo>
                <a:lnTo>
                  <a:pt x="67909" y="5625"/>
                </a:lnTo>
                <a:lnTo>
                  <a:pt x="67807" y="5830"/>
                </a:lnTo>
                <a:lnTo>
                  <a:pt x="68420" y="6034"/>
                </a:lnTo>
                <a:lnTo>
                  <a:pt x="68318" y="6136"/>
                </a:lnTo>
                <a:lnTo>
                  <a:pt x="69955" y="6136"/>
                </a:lnTo>
                <a:lnTo>
                  <a:pt x="69648" y="6341"/>
                </a:lnTo>
                <a:lnTo>
                  <a:pt x="75580" y="6034"/>
                </a:lnTo>
                <a:lnTo>
                  <a:pt x="75068" y="5932"/>
                </a:lnTo>
                <a:lnTo>
                  <a:pt x="75580" y="5523"/>
                </a:lnTo>
                <a:lnTo>
                  <a:pt x="74966" y="5420"/>
                </a:lnTo>
                <a:lnTo>
                  <a:pt x="75068" y="5318"/>
                </a:lnTo>
                <a:lnTo>
                  <a:pt x="71898" y="5523"/>
                </a:lnTo>
                <a:lnTo>
                  <a:pt x="72000" y="5625"/>
                </a:lnTo>
                <a:lnTo>
                  <a:pt x="70261" y="5420"/>
                </a:lnTo>
                <a:lnTo>
                  <a:pt x="70159" y="5523"/>
                </a:lnTo>
                <a:lnTo>
                  <a:pt x="69750" y="5523"/>
                </a:lnTo>
                <a:lnTo>
                  <a:pt x="70261" y="5318"/>
                </a:lnTo>
                <a:lnTo>
                  <a:pt x="69239" y="4909"/>
                </a:lnTo>
                <a:lnTo>
                  <a:pt x="70568" y="4909"/>
                </a:lnTo>
                <a:lnTo>
                  <a:pt x="69443" y="4807"/>
                </a:lnTo>
                <a:lnTo>
                  <a:pt x="70057" y="4705"/>
                </a:lnTo>
                <a:close/>
                <a:moveTo>
                  <a:pt x="165273" y="4705"/>
                </a:moveTo>
                <a:lnTo>
                  <a:pt x="160773" y="4909"/>
                </a:lnTo>
                <a:lnTo>
                  <a:pt x="160875" y="5011"/>
                </a:lnTo>
                <a:lnTo>
                  <a:pt x="160364" y="5114"/>
                </a:lnTo>
                <a:lnTo>
                  <a:pt x="159341" y="5420"/>
                </a:lnTo>
                <a:lnTo>
                  <a:pt x="158727" y="5625"/>
                </a:lnTo>
                <a:lnTo>
                  <a:pt x="158830" y="5727"/>
                </a:lnTo>
                <a:lnTo>
                  <a:pt x="158216" y="5830"/>
                </a:lnTo>
                <a:lnTo>
                  <a:pt x="158727" y="5932"/>
                </a:lnTo>
                <a:lnTo>
                  <a:pt x="158318" y="6239"/>
                </a:lnTo>
                <a:lnTo>
                  <a:pt x="158727" y="6341"/>
                </a:lnTo>
                <a:lnTo>
                  <a:pt x="158318" y="6443"/>
                </a:lnTo>
                <a:lnTo>
                  <a:pt x="158114" y="6648"/>
                </a:lnTo>
                <a:lnTo>
                  <a:pt x="157602" y="6955"/>
                </a:lnTo>
                <a:lnTo>
                  <a:pt x="158114" y="7261"/>
                </a:lnTo>
                <a:lnTo>
                  <a:pt x="160057" y="7057"/>
                </a:lnTo>
                <a:lnTo>
                  <a:pt x="159750" y="6852"/>
                </a:lnTo>
                <a:lnTo>
                  <a:pt x="160159" y="6341"/>
                </a:lnTo>
                <a:lnTo>
                  <a:pt x="160875" y="6239"/>
                </a:lnTo>
                <a:lnTo>
                  <a:pt x="160875" y="6136"/>
                </a:lnTo>
                <a:lnTo>
                  <a:pt x="161182" y="6034"/>
                </a:lnTo>
                <a:lnTo>
                  <a:pt x="160977" y="5932"/>
                </a:lnTo>
                <a:lnTo>
                  <a:pt x="165273" y="4705"/>
                </a:lnTo>
                <a:close/>
                <a:moveTo>
                  <a:pt x="212114" y="6852"/>
                </a:moveTo>
                <a:lnTo>
                  <a:pt x="211500" y="7261"/>
                </a:lnTo>
                <a:lnTo>
                  <a:pt x="214057" y="7364"/>
                </a:lnTo>
                <a:lnTo>
                  <a:pt x="212114" y="6852"/>
                </a:lnTo>
                <a:close/>
                <a:moveTo>
                  <a:pt x="177955" y="7159"/>
                </a:moveTo>
                <a:lnTo>
                  <a:pt x="178568" y="7466"/>
                </a:lnTo>
                <a:lnTo>
                  <a:pt x="177852" y="7261"/>
                </a:lnTo>
                <a:lnTo>
                  <a:pt x="177955" y="7159"/>
                </a:lnTo>
                <a:close/>
                <a:moveTo>
                  <a:pt x="58602" y="6955"/>
                </a:moveTo>
                <a:lnTo>
                  <a:pt x="57375" y="7159"/>
                </a:lnTo>
                <a:lnTo>
                  <a:pt x="57784" y="7568"/>
                </a:lnTo>
                <a:lnTo>
                  <a:pt x="58602" y="7261"/>
                </a:lnTo>
                <a:lnTo>
                  <a:pt x="58602" y="6955"/>
                </a:lnTo>
                <a:close/>
                <a:moveTo>
                  <a:pt x="108307" y="7568"/>
                </a:moveTo>
                <a:lnTo>
                  <a:pt x="108211" y="7587"/>
                </a:lnTo>
                <a:lnTo>
                  <a:pt x="108211" y="7587"/>
                </a:lnTo>
                <a:lnTo>
                  <a:pt x="108381" y="7603"/>
                </a:lnTo>
                <a:lnTo>
                  <a:pt x="108381" y="7603"/>
                </a:lnTo>
                <a:lnTo>
                  <a:pt x="108307" y="7568"/>
                </a:lnTo>
                <a:close/>
                <a:moveTo>
                  <a:pt x="73636" y="7159"/>
                </a:moveTo>
                <a:lnTo>
                  <a:pt x="74659" y="7670"/>
                </a:lnTo>
                <a:lnTo>
                  <a:pt x="76193" y="7670"/>
                </a:lnTo>
                <a:lnTo>
                  <a:pt x="76193" y="7466"/>
                </a:lnTo>
                <a:lnTo>
                  <a:pt x="75989" y="7261"/>
                </a:lnTo>
                <a:lnTo>
                  <a:pt x="73636" y="7159"/>
                </a:lnTo>
                <a:close/>
                <a:moveTo>
                  <a:pt x="108381" y="7603"/>
                </a:moveTo>
                <a:lnTo>
                  <a:pt x="109841" y="8284"/>
                </a:lnTo>
                <a:lnTo>
                  <a:pt x="110250" y="7773"/>
                </a:lnTo>
                <a:lnTo>
                  <a:pt x="108381" y="7603"/>
                </a:lnTo>
                <a:close/>
                <a:moveTo>
                  <a:pt x="68011" y="6852"/>
                </a:moveTo>
                <a:lnTo>
                  <a:pt x="64227" y="7364"/>
                </a:lnTo>
                <a:lnTo>
                  <a:pt x="63511" y="8386"/>
                </a:lnTo>
                <a:lnTo>
                  <a:pt x="63511" y="8386"/>
                </a:lnTo>
                <a:lnTo>
                  <a:pt x="64534" y="8182"/>
                </a:lnTo>
                <a:lnTo>
                  <a:pt x="64739" y="7773"/>
                </a:lnTo>
                <a:lnTo>
                  <a:pt x="65352" y="7773"/>
                </a:lnTo>
                <a:lnTo>
                  <a:pt x="68011" y="6852"/>
                </a:lnTo>
                <a:close/>
                <a:moveTo>
                  <a:pt x="216716" y="8182"/>
                </a:moveTo>
                <a:lnTo>
                  <a:pt x="217227" y="8489"/>
                </a:lnTo>
                <a:lnTo>
                  <a:pt x="217330" y="8182"/>
                </a:lnTo>
                <a:close/>
                <a:moveTo>
                  <a:pt x="62080" y="6852"/>
                </a:moveTo>
                <a:lnTo>
                  <a:pt x="60852" y="7159"/>
                </a:lnTo>
                <a:lnTo>
                  <a:pt x="61568" y="7364"/>
                </a:lnTo>
                <a:lnTo>
                  <a:pt x="61057" y="7466"/>
                </a:lnTo>
                <a:lnTo>
                  <a:pt x="61057" y="7568"/>
                </a:lnTo>
                <a:lnTo>
                  <a:pt x="60341" y="7773"/>
                </a:lnTo>
                <a:lnTo>
                  <a:pt x="60034" y="7466"/>
                </a:lnTo>
                <a:lnTo>
                  <a:pt x="59420" y="7773"/>
                </a:lnTo>
                <a:lnTo>
                  <a:pt x="59727" y="8182"/>
                </a:lnTo>
                <a:lnTo>
                  <a:pt x="60136" y="8284"/>
                </a:lnTo>
                <a:lnTo>
                  <a:pt x="60443" y="8898"/>
                </a:lnTo>
                <a:lnTo>
                  <a:pt x="61159" y="8898"/>
                </a:lnTo>
                <a:lnTo>
                  <a:pt x="61364" y="8489"/>
                </a:lnTo>
                <a:lnTo>
                  <a:pt x="62182" y="8591"/>
                </a:lnTo>
                <a:lnTo>
                  <a:pt x="63205" y="7773"/>
                </a:lnTo>
                <a:lnTo>
                  <a:pt x="62795" y="7875"/>
                </a:lnTo>
                <a:lnTo>
                  <a:pt x="62795" y="7670"/>
                </a:lnTo>
                <a:lnTo>
                  <a:pt x="62898" y="7670"/>
                </a:lnTo>
                <a:lnTo>
                  <a:pt x="62182" y="7568"/>
                </a:lnTo>
                <a:lnTo>
                  <a:pt x="63409" y="7261"/>
                </a:lnTo>
                <a:lnTo>
                  <a:pt x="63205" y="7159"/>
                </a:lnTo>
                <a:lnTo>
                  <a:pt x="63511" y="6852"/>
                </a:lnTo>
                <a:close/>
                <a:moveTo>
                  <a:pt x="47250" y="6443"/>
                </a:moveTo>
                <a:lnTo>
                  <a:pt x="47148" y="6852"/>
                </a:lnTo>
                <a:lnTo>
                  <a:pt x="43977" y="8386"/>
                </a:lnTo>
                <a:lnTo>
                  <a:pt x="44284" y="8386"/>
                </a:lnTo>
                <a:lnTo>
                  <a:pt x="44898" y="8693"/>
                </a:lnTo>
                <a:lnTo>
                  <a:pt x="44795" y="9102"/>
                </a:lnTo>
                <a:lnTo>
                  <a:pt x="44795" y="9102"/>
                </a:lnTo>
                <a:lnTo>
                  <a:pt x="51955" y="7159"/>
                </a:lnTo>
                <a:lnTo>
                  <a:pt x="51545" y="6545"/>
                </a:lnTo>
                <a:lnTo>
                  <a:pt x="50318" y="6750"/>
                </a:lnTo>
                <a:lnTo>
                  <a:pt x="50420" y="6545"/>
                </a:lnTo>
                <a:lnTo>
                  <a:pt x="50011" y="6648"/>
                </a:lnTo>
                <a:lnTo>
                  <a:pt x="50216" y="6545"/>
                </a:lnTo>
                <a:lnTo>
                  <a:pt x="47250" y="6443"/>
                </a:lnTo>
                <a:close/>
                <a:moveTo>
                  <a:pt x="158625" y="7261"/>
                </a:moveTo>
                <a:lnTo>
                  <a:pt x="157602" y="7875"/>
                </a:lnTo>
                <a:lnTo>
                  <a:pt x="157500" y="8182"/>
                </a:lnTo>
                <a:lnTo>
                  <a:pt x="156989" y="8284"/>
                </a:lnTo>
                <a:lnTo>
                  <a:pt x="159034" y="9102"/>
                </a:lnTo>
                <a:lnTo>
                  <a:pt x="158830" y="9102"/>
                </a:lnTo>
                <a:lnTo>
                  <a:pt x="158830" y="9205"/>
                </a:lnTo>
                <a:lnTo>
                  <a:pt x="158727" y="9205"/>
                </a:lnTo>
                <a:lnTo>
                  <a:pt x="158727" y="9307"/>
                </a:lnTo>
                <a:lnTo>
                  <a:pt x="158625" y="9307"/>
                </a:lnTo>
                <a:lnTo>
                  <a:pt x="160773" y="9614"/>
                </a:lnTo>
                <a:lnTo>
                  <a:pt x="160773" y="9614"/>
                </a:lnTo>
                <a:lnTo>
                  <a:pt x="160568" y="9511"/>
                </a:lnTo>
                <a:lnTo>
                  <a:pt x="161489" y="9511"/>
                </a:lnTo>
                <a:lnTo>
                  <a:pt x="159239" y="8080"/>
                </a:lnTo>
                <a:lnTo>
                  <a:pt x="159341" y="7773"/>
                </a:lnTo>
                <a:lnTo>
                  <a:pt x="159545" y="7670"/>
                </a:lnTo>
                <a:lnTo>
                  <a:pt x="159545" y="7466"/>
                </a:lnTo>
                <a:lnTo>
                  <a:pt x="158625" y="7261"/>
                </a:lnTo>
                <a:close/>
                <a:moveTo>
                  <a:pt x="18920" y="9818"/>
                </a:moveTo>
                <a:lnTo>
                  <a:pt x="18511" y="9920"/>
                </a:lnTo>
                <a:lnTo>
                  <a:pt x="18511" y="9920"/>
                </a:lnTo>
                <a:lnTo>
                  <a:pt x="18637" y="9901"/>
                </a:lnTo>
                <a:lnTo>
                  <a:pt x="18637" y="9901"/>
                </a:lnTo>
                <a:lnTo>
                  <a:pt x="18920" y="9818"/>
                </a:lnTo>
                <a:close/>
                <a:moveTo>
                  <a:pt x="137352" y="10125"/>
                </a:moveTo>
                <a:lnTo>
                  <a:pt x="137352" y="10125"/>
                </a:lnTo>
                <a:lnTo>
                  <a:pt x="137352" y="10125"/>
                </a:lnTo>
                <a:close/>
                <a:moveTo>
                  <a:pt x="88977" y="9818"/>
                </a:moveTo>
                <a:lnTo>
                  <a:pt x="88670" y="10125"/>
                </a:lnTo>
                <a:lnTo>
                  <a:pt x="88466" y="10125"/>
                </a:lnTo>
                <a:lnTo>
                  <a:pt x="88364" y="10432"/>
                </a:lnTo>
                <a:lnTo>
                  <a:pt x="88875" y="10534"/>
                </a:lnTo>
                <a:lnTo>
                  <a:pt x="88568" y="10636"/>
                </a:lnTo>
                <a:lnTo>
                  <a:pt x="89489" y="10636"/>
                </a:lnTo>
                <a:lnTo>
                  <a:pt x="90000" y="10227"/>
                </a:lnTo>
                <a:lnTo>
                  <a:pt x="88977" y="9818"/>
                </a:lnTo>
                <a:close/>
                <a:moveTo>
                  <a:pt x="52466" y="7261"/>
                </a:moveTo>
                <a:lnTo>
                  <a:pt x="48170" y="8591"/>
                </a:lnTo>
                <a:lnTo>
                  <a:pt x="48784" y="8693"/>
                </a:lnTo>
                <a:lnTo>
                  <a:pt x="48375" y="8898"/>
                </a:lnTo>
                <a:lnTo>
                  <a:pt x="50216" y="8795"/>
                </a:lnTo>
                <a:lnTo>
                  <a:pt x="50216" y="8795"/>
                </a:lnTo>
                <a:lnTo>
                  <a:pt x="49705" y="8898"/>
                </a:lnTo>
                <a:lnTo>
                  <a:pt x="49807" y="8898"/>
                </a:lnTo>
                <a:lnTo>
                  <a:pt x="47761" y="9307"/>
                </a:lnTo>
                <a:lnTo>
                  <a:pt x="51545" y="9818"/>
                </a:lnTo>
                <a:lnTo>
                  <a:pt x="48273" y="9920"/>
                </a:lnTo>
                <a:lnTo>
                  <a:pt x="47557" y="10534"/>
                </a:lnTo>
                <a:lnTo>
                  <a:pt x="49193" y="10739"/>
                </a:lnTo>
                <a:lnTo>
                  <a:pt x="48989" y="11352"/>
                </a:lnTo>
                <a:lnTo>
                  <a:pt x="54102" y="10534"/>
                </a:lnTo>
                <a:lnTo>
                  <a:pt x="54102" y="10739"/>
                </a:lnTo>
                <a:lnTo>
                  <a:pt x="54818" y="10841"/>
                </a:lnTo>
                <a:lnTo>
                  <a:pt x="54614" y="10943"/>
                </a:lnTo>
                <a:lnTo>
                  <a:pt x="56148" y="11045"/>
                </a:lnTo>
                <a:lnTo>
                  <a:pt x="57170" y="10534"/>
                </a:lnTo>
                <a:lnTo>
                  <a:pt x="56250" y="10739"/>
                </a:lnTo>
                <a:lnTo>
                  <a:pt x="56455" y="10534"/>
                </a:lnTo>
                <a:lnTo>
                  <a:pt x="56352" y="10432"/>
                </a:lnTo>
                <a:lnTo>
                  <a:pt x="58295" y="10023"/>
                </a:lnTo>
                <a:lnTo>
                  <a:pt x="57989" y="9920"/>
                </a:lnTo>
                <a:lnTo>
                  <a:pt x="57989" y="9818"/>
                </a:lnTo>
                <a:lnTo>
                  <a:pt x="56864" y="9409"/>
                </a:lnTo>
                <a:lnTo>
                  <a:pt x="57682" y="7670"/>
                </a:lnTo>
                <a:lnTo>
                  <a:pt x="56455" y="7364"/>
                </a:lnTo>
                <a:lnTo>
                  <a:pt x="55739" y="8489"/>
                </a:lnTo>
                <a:lnTo>
                  <a:pt x="55023" y="8693"/>
                </a:lnTo>
                <a:lnTo>
                  <a:pt x="55023" y="8693"/>
                </a:lnTo>
                <a:lnTo>
                  <a:pt x="55227" y="7875"/>
                </a:lnTo>
                <a:lnTo>
                  <a:pt x="54614" y="7773"/>
                </a:lnTo>
                <a:lnTo>
                  <a:pt x="53591" y="8080"/>
                </a:lnTo>
                <a:lnTo>
                  <a:pt x="53693" y="7977"/>
                </a:lnTo>
                <a:lnTo>
                  <a:pt x="53182" y="8080"/>
                </a:lnTo>
                <a:lnTo>
                  <a:pt x="53182" y="8080"/>
                </a:lnTo>
                <a:lnTo>
                  <a:pt x="53898" y="7773"/>
                </a:lnTo>
                <a:lnTo>
                  <a:pt x="51750" y="7875"/>
                </a:lnTo>
                <a:lnTo>
                  <a:pt x="52466" y="7261"/>
                </a:lnTo>
                <a:close/>
                <a:moveTo>
                  <a:pt x="60341" y="10330"/>
                </a:moveTo>
                <a:lnTo>
                  <a:pt x="58602" y="10841"/>
                </a:lnTo>
                <a:lnTo>
                  <a:pt x="59114" y="11148"/>
                </a:lnTo>
                <a:lnTo>
                  <a:pt x="60136" y="11352"/>
                </a:lnTo>
                <a:lnTo>
                  <a:pt x="61159" y="11045"/>
                </a:lnTo>
                <a:lnTo>
                  <a:pt x="60239" y="10432"/>
                </a:lnTo>
                <a:lnTo>
                  <a:pt x="60341" y="10330"/>
                </a:lnTo>
                <a:close/>
                <a:moveTo>
                  <a:pt x="175193" y="11250"/>
                </a:moveTo>
                <a:lnTo>
                  <a:pt x="176114" y="11557"/>
                </a:lnTo>
                <a:lnTo>
                  <a:pt x="176114" y="12068"/>
                </a:lnTo>
                <a:lnTo>
                  <a:pt x="177136" y="12170"/>
                </a:lnTo>
                <a:lnTo>
                  <a:pt x="177136" y="12170"/>
                </a:lnTo>
                <a:lnTo>
                  <a:pt x="176011" y="12068"/>
                </a:lnTo>
                <a:lnTo>
                  <a:pt x="175193" y="11250"/>
                </a:lnTo>
                <a:close/>
                <a:moveTo>
                  <a:pt x="73023" y="11557"/>
                </a:moveTo>
                <a:lnTo>
                  <a:pt x="72307" y="12375"/>
                </a:lnTo>
                <a:lnTo>
                  <a:pt x="73432" y="12375"/>
                </a:lnTo>
                <a:lnTo>
                  <a:pt x="74148" y="11659"/>
                </a:lnTo>
                <a:lnTo>
                  <a:pt x="73023" y="11557"/>
                </a:lnTo>
                <a:close/>
                <a:moveTo>
                  <a:pt x="108409" y="13295"/>
                </a:moveTo>
                <a:lnTo>
                  <a:pt x="108716" y="13398"/>
                </a:lnTo>
                <a:lnTo>
                  <a:pt x="108818" y="13398"/>
                </a:lnTo>
                <a:lnTo>
                  <a:pt x="108409" y="13295"/>
                </a:lnTo>
                <a:close/>
                <a:moveTo>
                  <a:pt x="9205" y="13807"/>
                </a:moveTo>
                <a:lnTo>
                  <a:pt x="9102" y="13909"/>
                </a:lnTo>
                <a:lnTo>
                  <a:pt x="9205" y="13909"/>
                </a:lnTo>
                <a:lnTo>
                  <a:pt x="9205" y="13807"/>
                </a:lnTo>
                <a:close/>
                <a:moveTo>
                  <a:pt x="5420" y="11045"/>
                </a:moveTo>
                <a:lnTo>
                  <a:pt x="0" y="14420"/>
                </a:lnTo>
                <a:lnTo>
                  <a:pt x="511" y="14318"/>
                </a:lnTo>
                <a:lnTo>
                  <a:pt x="1227" y="13909"/>
                </a:lnTo>
                <a:lnTo>
                  <a:pt x="1227" y="13705"/>
                </a:lnTo>
                <a:lnTo>
                  <a:pt x="1739" y="13398"/>
                </a:lnTo>
                <a:lnTo>
                  <a:pt x="1636" y="13500"/>
                </a:lnTo>
                <a:lnTo>
                  <a:pt x="2352" y="13295"/>
                </a:lnTo>
                <a:lnTo>
                  <a:pt x="2148" y="13398"/>
                </a:lnTo>
                <a:lnTo>
                  <a:pt x="2761" y="13193"/>
                </a:lnTo>
                <a:lnTo>
                  <a:pt x="2761" y="13193"/>
                </a:lnTo>
                <a:lnTo>
                  <a:pt x="1636" y="14011"/>
                </a:lnTo>
                <a:lnTo>
                  <a:pt x="3273" y="14114"/>
                </a:lnTo>
                <a:lnTo>
                  <a:pt x="3068" y="14625"/>
                </a:lnTo>
                <a:lnTo>
                  <a:pt x="3375" y="15034"/>
                </a:lnTo>
                <a:lnTo>
                  <a:pt x="3989" y="14932"/>
                </a:lnTo>
                <a:lnTo>
                  <a:pt x="3682" y="15136"/>
                </a:lnTo>
                <a:lnTo>
                  <a:pt x="4295" y="14932"/>
                </a:lnTo>
                <a:lnTo>
                  <a:pt x="4193" y="15034"/>
                </a:lnTo>
                <a:lnTo>
                  <a:pt x="4193" y="15034"/>
                </a:lnTo>
                <a:lnTo>
                  <a:pt x="4602" y="14727"/>
                </a:lnTo>
                <a:lnTo>
                  <a:pt x="4500" y="14625"/>
                </a:lnTo>
                <a:lnTo>
                  <a:pt x="5523" y="14318"/>
                </a:lnTo>
                <a:lnTo>
                  <a:pt x="5318" y="14318"/>
                </a:lnTo>
                <a:lnTo>
                  <a:pt x="5830" y="14114"/>
                </a:lnTo>
                <a:lnTo>
                  <a:pt x="5727" y="14114"/>
                </a:lnTo>
                <a:lnTo>
                  <a:pt x="5727" y="13909"/>
                </a:lnTo>
                <a:lnTo>
                  <a:pt x="6136" y="14011"/>
                </a:lnTo>
                <a:lnTo>
                  <a:pt x="6750" y="14011"/>
                </a:lnTo>
                <a:lnTo>
                  <a:pt x="6852" y="13807"/>
                </a:lnTo>
                <a:lnTo>
                  <a:pt x="7159" y="13909"/>
                </a:lnTo>
                <a:lnTo>
                  <a:pt x="8386" y="13500"/>
                </a:lnTo>
                <a:lnTo>
                  <a:pt x="8080" y="13398"/>
                </a:lnTo>
                <a:lnTo>
                  <a:pt x="7977" y="13398"/>
                </a:lnTo>
                <a:lnTo>
                  <a:pt x="8080" y="13193"/>
                </a:lnTo>
                <a:lnTo>
                  <a:pt x="8080" y="12886"/>
                </a:lnTo>
                <a:lnTo>
                  <a:pt x="7364" y="12682"/>
                </a:lnTo>
                <a:lnTo>
                  <a:pt x="7364" y="12682"/>
                </a:lnTo>
                <a:lnTo>
                  <a:pt x="7568" y="12784"/>
                </a:lnTo>
                <a:lnTo>
                  <a:pt x="6852" y="12886"/>
                </a:lnTo>
                <a:lnTo>
                  <a:pt x="7261" y="12682"/>
                </a:lnTo>
                <a:lnTo>
                  <a:pt x="6341" y="12682"/>
                </a:lnTo>
                <a:lnTo>
                  <a:pt x="6034" y="12989"/>
                </a:lnTo>
                <a:lnTo>
                  <a:pt x="6034" y="13193"/>
                </a:lnTo>
                <a:lnTo>
                  <a:pt x="5625" y="13398"/>
                </a:lnTo>
                <a:lnTo>
                  <a:pt x="5625" y="13398"/>
                </a:lnTo>
                <a:lnTo>
                  <a:pt x="5932" y="13193"/>
                </a:lnTo>
                <a:lnTo>
                  <a:pt x="5523" y="13295"/>
                </a:lnTo>
                <a:lnTo>
                  <a:pt x="5523" y="13091"/>
                </a:lnTo>
                <a:lnTo>
                  <a:pt x="6545" y="12375"/>
                </a:lnTo>
                <a:lnTo>
                  <a:pt x="6136" y="12375"/>
                </a:lnTo>
                <a:lnTo>
                  <a:pt x="6648" y="12068"/>
                </a:lnTo>
                <a:lnTo>
                  <a:pt x="5830" y="11659"/>
                </a:lnTo>
                <a:lnTo>
                  <a:pt x="5932" y="11557"/>
                </a:lnTo>
                <a:lnTo>
                  <a:pt x="5727" y="11352"/>
                </a:lnTo>
                <a:lnTo>
                  <a:pt x="5523" y="11557"/>
                </a:lnTo>
                <a:lnTo>
                  <a:pt x="5523" y="11352"/>
                </a:lnTo>
                <a:lnTo>
                  <a:pt x="5625" y="11250"/>
                </a:lnTo>
                <a:lnTo>
                  <a:pt x="5420" y="11045"/>
                </a:lnTo>
                <a:close/>
                <a:moveTo>
                  <a:pt x="113011" y="13193"/>
                </a:moveTo>
                <a:lnTo>
                  <a:pt x="112807" y="13398"/>
                </a:lnTo>
                <a:lnTo>
                  <a:pt x="112500" y="13398"/>
                </a:lnTo>
                <a:lnTo>
                  <a:pt x="112193" y="13602"/>
                </a:lnTo>
                <a:lnTo>
                  <a:pt x="111682" y="13500"/>
                </a:lnTo>
                <a:lnTo>
                  <a:pt x="111682" y="13500"/>
                </a:lnTo>
                <a:lnTo>
                  <a:pt x="111784" y="13807"/>
                </a:lnTo>
                <a:lnTo>
                  <a:pt x="111170" y="13500"/>
                </a:lnTo>
                <a:lnTo>
                  <a:pt x="110864" y="13500"/>
                </a:lnTo>
                <a:lnTo>
                  <a:pt x="110864" y="13807"/>
                </a:lnTo>
                <a:lnTo>
                  <a:pt x="110250" y="13602"/>
                </a:lnTo>
                <a:lnTo>
                  <a:pt x="110148" y="14011"/>
                </a:lnTo>
                <a:lnTo>
                  <a:pt x="109739" y="14011"/>
                </a:lnTo>
                <a:lnTo>
                  <a:pt x="109636" y="14216"/>
                </a:lnTo>
                <a:lnTo>
                  <a:pt x="109432" y="14114"/>
                </a:lnTo>
                <a:lnTo>
                  <a:pt x="109534" y="14011"/>
                </a:lnTo>
                <a:lnTo>
                  <a:pt x="109330" y="13807"/>
                </a:lnTo>
                <a:lnTo>
                  <a:pt x="109534" y="13602"/>
                </a:lnTo>
                <a:lnTo>
                  <a:pt x="108716" y="13398"/>
                </a:lnTo>
                <a:lnTo>
                  <a:pt x="108511" y="13398"/>
                </a:lnTo>
                <a:lnTo>
                  <a:pt x="108716" y="13705"/>
                </a:lnTo>
                <a:lnTo>
                  <a:pt x="108102" y="13500"/>
                </a:lnTo>
                <a:lnTo>
                  <a:pt x="108102" y="13500"/>
                </a:lnTo>
                <a:lnTo>
                  <a:pt x="108205" y="13602"/>
                </a:lnTo>
                <a:lnTo>
                  <a:pt x="108102" y="13705"/>
                </a:lnTo>
                <a:lnTo>
                  <a:pt x="107898" y="13705"/>
                </a:lnTo>
                <a:lnTo>
                  <a:pt x="108205" y="13807"/>
                </a:lnTo>
                <a:lnTo>
                  <a:pt x="107693" y="13807"/>
                </a:lnTo>
                <a:lnTo>
                  <a:pt x="107795" y="14011"/>
                </a:lnTo>
                <a:lnTo>
                  <a:pt x="107386" y="14011"/>
                </a:lnTo>
                <a:lnTo>
                  <a:pt x="109125" y="14114"/>
                </a:lnTo>
                <a:lnTo>
                  <a:pt x="108614" y="14318"/>
                </a:lnTo>
                <a:lnTo>
                  <a:pt x="109125" y="14318"/>
                </a:lnTo>
                <a:lnTo>
                  <a:pt x="109125" y="14420"/>
                </a:lnTo>
                <a:lnTo>
                  <a:pt x="107898" y="14523"/>
                </a:lnTo>
                <a:lnTo>
                  <a:pt x="107795" y="14727"/>
                </a:lnTo>
                <a:lnTo>
                  <a:pt x="109227" y="14830"/>
                </a:lnTo>
                <a:lnTo>
                  <a:pt x="108818" y="15136"/>
                </a:lnTo>
                <a:lnTo>
                  <a:pt x="109227" y="15034"/>
                </a:lnTo>
                <a:lnTo>
                  <a:pt x="108307" y="15341"/>
                </a:lnTo>
                <a:lnTo>
                  <a:pt x="108716" y="15545"/>
                </a:lnTo>
                <a:lnTo>
                  <a:pt x="109432" y="15443"/>
                </a:lnTo>
                <a:lnTo>
                  <a:pt x="111375" y="15852"/>
                </a:lnTo>
                <a:lnTo>
                  <a:pt x="114648" y="14625"/>
                </a:lnTo>
                <a:lnTo>
                  <a:pt x="114648" y="14216"/>
                </a:lnTo>
                <a:lnTo>
                  <a:pt x="114034" y="13807"/>
                </a:lnTo>
                <a:lnTo>
                  <a:pt x="113830" y="13500"/>
                </a:lnTo>
                <a:lnTo>
                  <a:pt x="114239" y="13295"/>
                </a:lnTo>
                <a:lnTo>
                  <a:pt x="113011" y="13193"/>
                </a:lnTo>
                <a:close/>
                <a:moveTo>
                  <a:pt x="65557" y="13705"/>
                </a:moveTo>
                <a:lnTo>
                  <a:pt x="63102" y="15750"/>
                </a:lnTo>
                <a:lnTo>
                  <a:pt x="63818" y="15750"/>
                </a:lnTo>
                <a:lnTo>
                  <a:pt x="64023" y="16159"/>
                </a:lnTo>
                <a:lnTo>
                  <a:pt x="66309" y="15364"/>
                </a:lnTo>
                <a:lnTo>
                  <a:pt x="66309" y="15364"/>
                </a:lnTo>
                <a:lnTo>
                  <a:pt x="67091" y="15852"/>
                </a:lnTo>
                <a:lnTo>
                  <a:pt x="68114" y="15545"/>
                </a:lnTo>
                <a:lnTo>
                  <a:pt x="67091" y="15443"/>
                </a:lnTo>
                <a:lnTo>
                  <a:pt x="67295" y="14830"/>
                </a:lnTo>
                <a:lnTo>
                  <a:pt x="65659" y="14011"/>
                </a:lnTo>
                <a:lnTo>
                  <a:pt x="65557" y="13705"/>
                </a:lnTo>
                <a:close/>
                <a:moveTo>
                  <a:pt x="128864" y="16773"/>
                </a:moveTo>
                <a:lnTo>
                  <a:pt x="128455" y="16875"/>
                </a:lnTo>
                <a:lnTo>
                  <a:pt x="128455" y="16875"/>
                </a:lnTo>
                <a:lnTo>
                  <a:pt x="128785" y="16804"/>
                </a:lnTo>
                <a:lnTo>
                  <a:pt x="128785" y="16804"/>
                </a:lnTo>
                <a:lnTo>
                  <a:pt x="128864" y="16773"/>
                </a:lnTo>
                <a:close/>
                <a:moveTo>
                  <a:pt x="73227" y="6955"/>
                </a:moveTo>
                <a:lnTo>
                  <a:pt x="70773" y="7364"/>
                </a:lnTo>
                <a:lnTo>
                  <a:pt x="71080" y="7670"/>
                </a:lnTo>
                <a:lnTo>
                  <a:pt x="70159" y="7773"/>
                </a:lnTo>
                <a:lnTo>
                  <a:pt x="70466" y="8080"/>
                </a:lnTo>
                <a:lnTo>
                  <a:pt x="70466" y="8386"/>
                </a:lnTo>
                <a:lnTo>
                  <a:pt x="69443" y="8386"/>
                </a:lnTo>
                <a:lnTo>
                  <a:pt x="69955" y="8693"/>
                </a:lnTo>
                <a:lnTo>
                  <a:pt x="69545" y="9205"/>
                </a:lnTo>
                <a:lnTo>
                  <a:pt x="68318" y="9205"/>
                </a:lnTo>
                <a:lnTo>
                  <a:pt x="69545" y="8898"/>
                </a:lnTo>
                <a:lnTo>
                  <a:pt x="69136" y="8489"/>
                </a:lnTo>
                <a:lnTo>
                  <a:pt x="69443" y="7773"/>
                </a:lnTo>
                <a:lnTo>
                  <a:pt x="71284" y="6955"/>
                </a:lnTo>
                <a:lnTo>
                  <a:pt x="71284" y="6955"/>
                </a:lnTo>
                <a:lnTo>
                  <a:pt x="67193" y="8284"/>
                </a:lnTo>
                <a:lnTo>
                  <a:pt x="66682" y="8898"/>
                </a:lnTo>
                <a:lnTo>
                  <a:pt x="67909" y="9205"/>
                </a:lnTo>
                <a:lnTo>
                  <a:pt x="66477" y="9205"/>
                </a:lnTo>
                <a:lnTo>
                  <a:pt x="68114" y="9716"/>
                </a:lnTo>
                <a:lnTo>
                  <a:pt x="67909" y="9920"/>
                </a:lnTo>
                <a:lnTo>
                  <a:pt x="70875" y="10125"/>
                </a:lnTo>
                <a:lnTo>
                  <a:pt x="70875" y="10023"/>
                </a:lnTo>
                <a:lnTo>
                  <a:pt x="72205" y="10227"/>
                </a:lnTo>
                <a:lnTo>
                  <a:pt x="72614" y="9716"/>
                </a:lnTo>
                <a:lnTo>
                  <a:pt x="73534" y="9920"/>
                </a:lnTo>
                <a:lnTo>
                  <a:pt x="73432" y="10227"/>
                </a:lnTo>
                <a:lnTo>
                  <a:pt x="73841" y="10330"/>
                </a:lnTo>
                <a:lnTo>
                  <a:pt x="73636" y="10432"/>
                </a:lnTo>
                <a:lnTo>
                  <a:pt x="74148" y="10330"/>
                </a:lnTo>
                <a:lnTo>
                  <a:pt x="74250" y="10739"/>
                </a:lnTo>
                <a:lnTo>
                  <a:pt x="73432" y="11148"/>
                </a:lnTo>
                <a:lnTo>
                  <a:pt x="74685" y="10969"/>
                </a:lnTo>
                <a:lnTo>
                  <a:pt x="74761" y="11045"/>
                </a:lnTo>
                <a:lnTo>
                  <a:pt x="74557" y="11148"/>
                </a:lnTo>
                <a:lnTo>
                  <a:pt x="75375" y="11557"/>
                </a:lnTo>
                <a:lnTo>
                  <a:pt x="75477" y="12273"/>
                </a:lnTo>
                <a:lnTo>
                  <a:pt x="73534" y="13398"/>
                </a:lnTo>
                <a:lnTo>
                  <a:pt x="73636" y="13807"/>
                </a:lnTo>
                <a:lnTo>
                  <a:pt x="72000" y="14216"/>
                </a:lnTo>
                <a:lnTo>
                  <a:pt x="72000" y="14318"/>
                </a:lnTo>
                <a:lnTo>
                  <a:pt x="72000" y="14420"/>
                </a:lnTo>
                <a:lnTo>
                  <a:pt x="71898" y="14625"/>
                </a:lnTo>
                <a:lnTo>
                  <a:pt x="72000" y="14318"/>
                </a:lnTo>
                <a:lnTo>
                  <a:pt x="71080" y="14114"/>
                </a:lnTo>
                <a:lnTo>
                  <a:pt x="70057" y="14727"/>
                </a:lnTo>
                <a:lnTo>
                  <a:pt x="70977" y="15136"/>
                </a:lnTo>
                <a:lnTo>
                  <a:pt x="72307" y="14727"/>
                </a:lnTo>
                <a:lnTo>
                  <a:pt x="72818" y="14830"/>
                </a:lnTo>
                <a:lnTo>
                  <a:pt x="72716" y="15034"/>
                </a:lnTo>
                <a:lnTo>
                  <a:pt x="72716" y="15034"/>
                </a:lnTo>
                <a:lnTo>
                  <a:pt x="73330" y="14830"/>
                </a:lnTo>
                <a:lnTo>
                  <a:pt x="73125" y="15034"/>
                </a:lnTo>
                <a:lnTo>
                  <a:pt x="73739" y="15545"/>
                </a:lnTo>
                <a:lnTo>
                  <a:pt x="73636" y="15648"/>
                </a:lnTo>
                <a:lnTo>
                  <a:pt x="74148" y="15750"/>
                </a:lnTo>
                <a:lnTo>
                  <a:pt x="73636" y="15955"/>
                </a:lnTo>
                <a:lnTo>
                  <a:pt x="74250" y="16261"/>
                </a:lnTo>
                <a:lnTo>
                  <a:pt x="74045" y="16364"/>
                </a:lnTo>
                <a:lnTo>
                  <a:pt x="76909" y="17386"/>
                </a:lnTo>
                <a:lnTo>
                  <a:pt x="77318" y="17080"/>
                </a:lnTo>
                <a:lnTo>
                  <a:pt x="76398" y="16364"/>
                </a:lnTo>
                <a:lnTo>
                  <a:pt x="76500" y="16261"/>
                </a:lnTo>
                <a:lnTo>
                  <a:pt x="75989" y="15648"/>
                </a:lnTo>
                <a:lnTo>
                  <a:pt x="76705" y="15648"/>
                </a:lnTo>
                <a:lnTo>
                  <a:pt x="78034" y="16568"/>
                </a:lnTo>
                <a:lnTo>
                  <a:pt x="78239" y="16364"/>
                </a:lnTo>
                <a:lnTo>
                  <a:pt x="78545" y="16364"/>
                </a:lnTo>
                <a:lnTo>
                  <a:pt x="78545" y="15648"/>
                </a:lnTo>
                <a:lnTo>
                  <a:pt x="78955" y="15955"/>
                </a:lnTo>
                <a:lnTo>
                  <a:pt x="78955" y="15443"/>
                </a:lnTo>
                <a:lnTo>
                  <a:pt x="79057" y="15341"/>
                </a:lnTo>
                <a:lnTo>
                  <a:pt x="78750" y="15341"/>
                </a:lnTo>
                <a:lnTo>
                  <a:pt x="78545" y="15136"/>
                </a:lnTo>
                <a:lnTo>
                  <a:pt x="78955" y="14932"/>
                </a:lnTo>
                <a:lnTo>
                  <a:pt x="78648" y="14932"/>
                </a:lnTo>
                <a:lnTo>
                  <a:pt x="78955" y="14830"/>
                </a:lnTo>
                <a:lnTo>
                  <a:pt x="78648" y="14625"/>
                </a:lnTo>
                <a:lnTo>
                  <a:pt x="78034" y="14625"/>
                </a:lnTo>
                <a:lnTo>
                  <a:pt x="77830" y="14216"/>
                </a:lnTo>
                <a:lnTo>
                  <a:pt x="78034" y="14114"/>
                </a:lnTo>
                <a:lnTo>
                  <a:pt x="77523" y="14011"/>
                </a:lnTo>
                <a:lnTo>
                  <a:pt x="77727" y="13807"/>
                </a:lnTo>
                <a:lnTo>
                  <a:pt x="77318" y="13398"/>
                </a:lnTo>
                <a:lnTo>
                  <a:pt x="78341" y="13602"/>
                </a:lnTo>
                <a:lnTo>
                  <a:pt x="78136" y="13193"/>
                </a:lnTo>
                <a:lnTo>
                  <a:pt x="78545" y="13091"/>
                </a:lnTo>
                <a:lnTo>
                  <a:pt x="79466" y="13398"/>
                </a:lnTo>
                <a:lnTo>
                  <a:pt x="79159" y="13602"/>
                </a:lnTo>
                <a:lnTo>
                  <a:pt x="79159" y="13602"/>
                </a:lnTo>
                <a:lnTo>
                  <a:pt x="80284" y="13295"/>
                </a:lnTo>
                <a:lnTo>
                  <a:pt x="79466" y="13909"/>
                </a:lnTo>
                <a:lnTo>
                  <a:pt x="79568" y="14318"/>
                </a:lnTo>
                <a:lnTo>
                  <a:pt x="79977" y="14114"/>
                </a:lnTo>
                <a:lnTo>
                  <a:pt x="80182" y="14420"/>
                </a:lnTo>
                <a:lnTo>
                  <a:pt x="80489" y="14420"/>
                </a:lnTo>
                <a:lnTo>
                  <a:pt x="80693" y="13909"/>
                </a:lnTo>
                <a:lnTo>
                  <a:pt x="80489" y="13909"/>
                </a:lnTo>
                <a:lnTo>
                  <a:pt x="81818" y="13602"/>
                </a:lnTo>
                <a:lnTo>
                  <a:pt x="81511" y="13398"/>
                </a:lnTo>
                <a:lnTo>
                  <a:pt x="81716" y="13295"/>
                </a:lnTo>
                <a:lnTo>
                  <a:pt x="81614" y="13193"/>
                </a:lnTo>
                <a:lnTo>
                  <a:pt x="82023" y="13295"/>
                </a:lnTo>
                <a:lnTo>
                  <a:pt x="82023" y="12989"/>
                </a:lnTo>
                <a:lnTo>
                  <a:pt x="82227" y="12989"/>
                </a:lnTo>
                <a:lnTo>
                  <a:pt x="82227" y="12682"/>
                </a:lnTo>
                <a:lnTo>
                  <a:pt x="81000" y="12886"/>
                </a:lnTo>
                <a:lnTo>
                  <a:pt x="81716" y="12477"/>
                </a:lnTo>
                <a:lnTo>
                  <a:pt x="80591" y="12375"/>
                </a:lnTo>
                <a:lnTo>
                  <a:pt x="81307" y="12170"/>
                </a:lnTo>
                <a:lnTo>
                  <a:pt x="80591" y="11966"/>
                </a:lnTo>
                <a:lnTo>
                  <a:pt x="80795" y="11864"/>
                </a:lnTo>
                <a:lnTo>
                  <a:pt x="80284" y="12068"/>
                </a:lnTo>
                <a:lnTo>
                  <a:pt x="80386" y="11864"/>
                </a:lnTo>
                <a:lnTo>
                  <a:pt x="80080" y="11864"/>
                </a:lnTo>
                <a:lnTo>
                  <a:pt x="80182" y="11761"/>
                </a:lnTo>
                <a:lnTo>
                  <a:pt x="79670" y="11966"/>
                </a:lnTo>
                <a:lnTo>
                  <a:pt x="80080" y="11557"/>
                </a:lnTo>
                <a:lnTo>
                  <a:pt x="79670" y="11761"/>
                </a:lnTo>
                <a:lnTo>
                  <a:pt x="79466" y="11761"/>
                </a:lnTo>
                <a:lnTo>
                  <a:pt x="79568" y="11557"/>
                </a:lnTo>
                <a:lnTo>
                  <a:pt x="79773" y="11455"/>
                </a:lnTo>
                <a:lnTo>
                  <a:pt x="79057" y="11352"/>
                </a:lnTo>
                <a:lnTo>
                  <a:pt x="78955" y="11148"/>
                </a:lnTo>
                <a:lnTo>
                  <a:pt x="78239" y="11045"/>
                </a:lnTo>
                <a:lnTo>
                  <a:pt x="79466" y="10943"/>
                </a:lnTo>
                <a:lnTo>
                  <a:pt x="78648" y="10841"/>
                </a:lnTo>
                <a:lnTo>
                  <a:pt x="80284" y="10739"/>
                </a:lnTo>
                <a:lnTo>
                  <a:pt x="78648" y="10534"/>
                </a:lnTo>
                <a:lnTo>
                  <a:pt x="80080" y="10330"/>
                </a:lnTo>
                <a:lnTo>
                  <a:pt x="79670" y="10023"/>
                </a:lnTo>
                <a:lnTo>
                  <a:pt x="79057" y="10125"/>
                </a:lnTo>
                <a:lnTo>
                  <a:pt x="79364" y="9920"/>
                </a:lnTo>
                <a:lnTo>
                  <a:pt x="78443" y="10023"/>
                </a:lnTo>
                <a:lnTo>
                  <a:pt x="79568" y="9716"/>
                </a:lnTo>
                <a:lnTo>
                  <a:pt x="79466" y="9409"/>
                </a:lnTo>
                <a:lnTo>
                  <a:pt x="78750" y="9409"/>
                </a:lnTo>
                <a:lnTo>
                  <a:pt x="77625" y="10023"/>
                </a:lnTo>
                <a:lnTo>
                  <a:pt x="77420" y="9716"/>
                </a:lnTo>
                <a:lnTo>
                  <a:pt x="78545" y="9205"/>
                </a:lnTo>
                <a:lnTo>
                  <a:pt x="77216" y="9409"/>
                </a:lnTo>
                <a:lnTo>
                  <a:pt x="77216" y="9409"/>
                </a:lnTo>
                <a:lnTo>
                  <a:pt x="78341" y="8898"/>
                </a:lnTo>
                <a:lnTo>
                  <a:pt x="76500" y="8898"/>
                </a:lnTo>
                <a:lnTo>
                  <a:pt x="77011" y="8591"/>
                </a:lnTo>
                <a:lnTo>
                  <a:pt x="75886" y="9000"/>
                </a:lnTo>
                <a:lnTo>
                  <a:pt x="76398" y="8693"/>
                </a:lnTo>
                <a:lnTo>
                  <a:pt x="76091" y="8693"/>
                </a:lnTo>
                <a:lnTo>
                  <a:pt x="76807" y="8386"/>
                </a:lnTo>
                <a:lnTo>
                  <a:pt x="76807" y="8386"/>
                </a:lnTo>
                <a:lnTo>
                  <a:pt x="75580" y="8591"/>
                </a:lnTo>
                <a:lnTo>
                  <a:pt x="75580" y="8591"/>
                </a:lnTo>
                <a:lnTo>
                  <a:pt x="76500" y="8182"/>
                </a:lnTo>
                <a:lnTo>
                  <a:pt x="74761" y="7875"/>
                </a:lnTo>
                <a:lnTo>
                  <a:pt x="74761" y="7875"/>
                </a:lnTo>
                <a:lnTo>
                  <a:pt x="74864" y="8182"/>
                </a:lnTo>
                <a:lnTo>
                  <a:pt x="74045" y="8489"/>
                </a:lnTo>
                <a:lnTo>
                  <a:pt x="73739" y="8080"/>
                </a:lnTo>
                <a:lnTo>
                  <a:pt x="72511" y="8489"/>
                </a:lnTo>
                <a:lnTo>
                  <a:pt x="72818" y="8284"/>
                </a:lnTo>
                <a:lnTo>
                  <a:pt x="72716" y="8182"/>
                </a:lnTo>
                <a:lnTo>
                  <a:pt x="73125" y="7977"/>
                </a:lnTo>
                <a:lnTo>
                  <a:pt x="72614" y="8182"/>
                </a:lnTo>
                <a:lnTo>
                  <a:pt x="73534" y="7773"/>
                </a:lnTo>
                <a:lnTo>
                  <a:pt x="73227" y="6955"/>
                </a:lnTo>
                <a:close/>
                <a:moveTo>
                  <a:pt x="103500" y="0"/>
                </a:moveTo>
                <a:lnTo>
                  <a:pt x="103807" y="102"/>
                </a:lnTo>
                <a:lnTo>
                  <a:pt x="99205" y="205"/>
                </a:lnTo>
                <a:lnTo>
                  <a:pt x="101864" y="307"/>
                </a:lnTo>
                <a:lnTo>
                  <a:pt x="99614" y="409"/>
                </a:lnTo>
                <a:lnTo>
                  <a:pt x="100125" y="511"/>
                </a:lnTo>
                <a:lnTo>
                  <a:pt x="99818" y="818"/>
                </a:lnTo>
                <a:lnTo>
                  <a:pt x="97057" y="511"/>
                </a:lnTo>
                <a:lnTo>
                  <a:pt x="97057" y="818"/>
                </a:lnTo>
                <a:lnTo>
                  <a:pt x="94705" y="1023"/>
                </a:lnTo>
                <a:lnTo>
                  <a:pt x="94705" y="614"/>
                </a:lnTo>
                <a:lnTo>
                  <a:pt x="91841" y="818"/>
                </a:lnTo>
                <a:lnTo>
                  <a:pt x="92966" y="1227"/>
                </a:lnTo>
                <a:lnTo>
                  <a:pt x="90716" y="920"/>
                </a:lnTo>
                <a:lnTo>
                  <a:pt x="86625" y="1841"/>
                </a:lnTo>
                <a:lnTo>
                  <a:pt x="86932" y="2148"/>
                </a:lnTo>
                <a:lnTo>
                  <a:pt x="87955" y="2045"/>
                </a:lnTo>
                <a:lnTo>
                  <a:pt x="87955" y="2045"/>
                </a:lnTo>
                <a:lnTo>
                  <a:pt x="81818" y="3477"/>
                </a:lnTo>
                <a:lnTo>
                  <a:pt x="83148" y="3682"/>
                </a:lnTo>
                <a:lnTo>
                  <a:pt x="82841" y="3784"/>
                </a:lnTo>
                <a:lnTo>
                  <a:pt x="85091" y="3989"/>
                </a:lnTo>
                <a:lnTo>
                  <a:pt x="82023" y="4295"/>
                </a:lnTo>
                <a:lnTo>
                  <a:pt x="82125" y="4398"/>
                </a:lnTo>
                <a:lnTo>
                  <a:pt x="82125" y="4500"/>
                </a:lnTo>
                <a:lnTo>
                  <a:pt x="83557" y="4602"/>
                </a:lnTo>
                <a:lnTo>
                  <a:pt x="82534" y="4807"/>
                </a:lnTo>
                <a:lnTo>
                  <a:pt x="88568" y="5318"/>
                </a:lnTo>
                <a:lnTo>
                  <a:pt x="88568" y="5625"/>
                </a:lnTo>
                <a:lnTo>
                  <a:pt x="89489" y="6341"/>
                </a:lnTo>
                <a:lnTo>
                  <a:pt x="88670" y="6648"/>
                </a:lnTo>
                <a:lnTo>
                  <a:pt x="89386" y="6750"/>
                </a:lnTo>
                <a:lnTo>
                  <a:pt x="89182" y="7057"/>
                </a:lnTo>
                <a:lnTo>
                  <a:pt x="89386" y="7466"/>
                </a:lnTo>
                <a:lnTo>
                  <a:pt x="89386" y="7568"/>
                </a:lnTo>
                <a:lnTo>
                  <a:pt x="89591" y="7773"/>
                </a:lnTo>
                <a:lnTo>
                  <a:pt x="88977" y="7977"/>
                </a:lnTo>
                <a:lnTo>
                  <a:pt x="89080" y="8080"/>
                </a:lnTo>
                <a:lnTo>
                  <a:pt x="88773" y="8182"/>
                </a:lnTo>
                <a:lnTo>
                  <a:pt x="88773" y="8182"/>
                </a:lnTo>
                <a:lnTo>
                  <a:pt x="89386" y="8080"/>
                </a:lnTo>
                <a:lnTo>
                  <a:pt x="88568" y="8795"/>
                </a:lnTo>
                <a:lnTo>
                  <a:pt x="90102" y="8489"/>
                </a:lnTo>
                <a:lnTo>
                  <a:pt x="90102" y="8591"/>
                </a:lnTo>
                <a:lnTo>
                  <a:pt x="90205" y="8591"/>
                </a:lnTo>
                <a:lnTo>
                  <a:pt x="90205" y="8693"/>
                </a:lnTo>
                <a:lnTo>
                  <a:pt x="91023" y="8693"/>
                </a:lnTo>
                <a:lnTo>
                  <a:pt x="90000" y="9102"/>
                </a:lnTo>
                <a:lnTo>
                  <a:pt x="91227" y="9205"/>
                </a:lnTo>
                <a:lnTo>
                  <a:pt x="90716" y="9205"/>
                </a:lnTo>
                <a:lnTo>
                  <a:pt x="91023" y="9409"/>
                </a:lnTo>
                <a:lnTo>
                  <a:pt x="91227" y="9716"/>
                </a:lnTo>
                <a:lnTo>
                  <a:pt x="88875" y="9614"/>
                </a:lnTo>
                <a:lnTo>
                  <a:pt x="91330" y="10125"/>
                </a:lnTo>
                <a:lnTo>
                  <a:pt x="90511" y="10739"/>
                </a:lnTo>
                <a:lnTo>
                  <a:pt x="91023" y="10739"/>
                </a:lnTo>
                <a:lnTo>
                  <a:pt x="90511" y="10841"/>
                </a:lnTo>
                <a:lnTo>
                  <a:pt x="90205" y="11148"/>
                </a:lnTo>
                <a:lnTo>
                  <a:pt x="90511" y="11148"/>
                </a:lnTo>
                <a:lnTo>
                  <a:pt x="88568" y="11557"/>
                </a:lnTo>
                <a:lnTo>
                  <a:pt x="90102" y="11455"/>
                </a:lnTo>
                <a:lnTo>
                  <a:pt x="88057" y="12170"/>
                </a:lnTo>
                <a:lnTo>
                  <a:pt x="90102" y="11966"/>
                </a:lnTo>
                <a:lnTo>
                  <a:pt x="89898" y="12068"/>
                </a:lnTo>
                <a:lnTo>
                  <a:pt x="90205" y="12273"/>
                </a:lnTo>
                <a:lnTo>
                  <a:pt x="88261" y="12273"/>
                </a:lnTo>
                <a:lnTo>
                  <a:pt x="87955" y="12784"/>
                </a:lnTo>
                <a:lnTo>
                  <a:pt x="88773" y="12784"/>
                </a:lnTo>
                <a:lnTo>
                  <a:pt x="87648" y="13500"/>
                </a:lnTo>
                <a:lnTo>
                  <a:pt x="89489" y="12784"/>
                </a:lnTo>
                <a:lnTo>
                  <a:pt x="89489" y="12784"/>
                </a:lnTo>
                <a:lnTo>
                  <a:pt x="87750" y="13602"/>
                </a:lnTo>
                <a:lnTo>
                  <a:pt x="87852" y="13602"/>
                </a:lnTo>
                <a:lnTo>
                  <a:pt x="87750" y="14011"/>
                </a:lnTo>
                <a:lnTo>
                  <a:pt x="89182" y="13807"/>
                </a:lnTo>
                <a:lnTo>
                  <a:pt x="88261" y="14114"/>
                </a:lnTo>
                <a:lnTo>
                  <a:pt x="88057" y="15239"/>
                </a:lnTo>
                <a:lnTo>
                  <a:pt x="88773" y="14727"/>
                </a:lnTo>
                <a:lnTo>
                  <a:pt x="89080" y="14318"/>
                </a:lnTo>
                <a:lnTo>
                  <a:pt x="89489" y="15034"/>
                </a:lnTo>
                <a:lnTo>
                  <a:pt x="88466" y="15034"/>
                </a:lnTo>
                <a:lnTo>
                  <a:pt x="88364" y="15341"/>
                </a:lnTo>
                <a:lnTo>
                  <a:pt x="89080" y="15136"/>
                </a:lnTo>
                <a:lnTo>
                  <a:pt x="88977" y="15239"/>
                </a:lnTo>
                <a:lnTo>
                  <a:pt x="89182" y="15239"/>
                </a:lnTo>
                <a:lnTo>
                  <a:pt x="88261" y="15443"/>
                </a:lnTo>
                <a:lnTo>
                  <a:pt x="88568" y="16466"/>
                </a:lnTo>
                <a:lnTo>
                  <a:pt x="89080" y="16261"/>
                </a:lnTo>
                <a:lnTo>
                  <a:pt x="88568" y="16773"/>
                </a:lnTo>
                <a:lnTo>
                  <a:pt x="89386" y="17182"/>
                </a:lnTo>
                <a:lnTo>
                  <a:pt x="88977" y="17591"/>
                </a:lnTo>
                <a:lnTo>
                  <a:pt x="89386" y="18205"/>
                </a:lnTo>
                <a:lnTo>
                  <a:pt x="89795" y="18205"/>
                </a:lnTo>
                <a:lnTo>
                  <a:pt x="89386" y="18409"/>
                </a:lnTo>
                <a:lnTo>
                  <a:pt x="89795" y="18409"/>
                </a:lnTo>
                <a:lnTo>
                  <a:pt x="89795" y="18307"/>
                </a:lnTo>
                <a:lnTo>
                  <a:pt x="91227" y="18000"/>
                </a:lnTo>
                <a:lnTo>
                  <a:pt x="91023" y="18614"/>
                </a:lnTo>
                <a:lnTo>
                  <a:pt x="91943" y="18511"/>
                </a:lnTo>
                <a:lnTo>
                  <a:pt x="91943" y="18511"/>
                </a:lnTo>
                <a:lnTo>
                  <a:pt x="91330" y="18920"/>
                </a:lnTo>
                <a:lnTo>
                  <a:pt x="91330" y="18920"/>
                </a:lnTo>
                <a:lnTo>
                  <a:pt x="92148" y="18818"/>
                </a:lnTo>
                <a:lnTo>
                  <a:pt x="92148" y="19227"/>
                </a:lnTo>
                <a:lnTo>
                  <a:pt x="92455" y="19227"/>
                </a:lnTo>
                <a:lnTo>
                  <a:pt x="92250" y="19125"/>
                </a:lnTo>
                <a:lnTo>
                  <a:pt x="92966" y="18920"/>
                </a:lnTo>
                <a:lnTo>
                  <a:pt x="92455" y="18614"/>
                </a:lnTo>
                <a:lnTo>
                  <a:pt x="93375" y="18409"/>
                </a:lnTo>
                <a:lnTo>
                  <a:pt x="93989" y="17591"/>
                </a:lnTo>
                <a:lnTo>
                  <a:pt x="93784" y="17489"/>
                </a:lnTo>
                <a:lnTo>
                  <a:pt x="94091" y="17386"/>
                </a:lnTo>
                <a:lnTo>
                  <a:pt x="94295" y="16670"/>
                </a:lnTo>
                <a:lnTo>
                  <a:pt x="93784" y="16568"/>
                </a:lnTo>
                <a:lnTo>
                  <a:pt x="94807" y="16364"/>
                </a:lnTo>
                <a:lnTo>
                  <a:pt x="94500" y="16159"/>
                </a:lnTo>
                <a:lnTo>
                  <a:pt x="95830" y="15648"/>
                </a:lnTo>
                <a:lnTo>
                  <a:pt x="95830" y="15239"/>
                </a:lnTo>
                <a:lnTo>
                  <a:pt x="95216" y="15136"/>
                </a:lnTo>
                <a:lnTo>
                  <a:pt x="96136" y="15034"/>
                </a:lnTo>
                <a:lnTo>
                  <a:pt x="95830" y="14625"/>
                </a:lnTo>
                <a:lnTo>
                  <a:pt x="96955" y="14216"/>
                </a:lnTo>
                <a:lnTo>
                  <a:pt x="96545" y="14011"/>
                </a:lnTo>
                <a:lnTo>
                  <a:pt x="98489" y="13398"/>
                </a:lnTo>
                <a:lnTo>
                  <a:pt x="98182" y="13295"/>
                </a:lnTo>
                <a:lnTo>
                  <a:pt x="98795" y="13295"/>
                </a:lnTo>
                <a:lnTo>
                  <a:pt x="98386" y="13909"/>
                </a:lnTo>
                <a:lnTo>
                  <a:pt x="99205" y="13602"/>
                </a:lnTo>
                <a:lnTo>
                  <a:pt x="99307" y="13705"/>
                </a:lnTo>
                <a:lnTo>
                  <a:pt x="102580" y="11659"/>
                </a:lnTo>
                <a:lnTo>
                  <a:pt x="102682" y="11455"/>
                </a:lnTo>
                <a:lnTo>
                  <a:pt x="109125" y="10227"/>
                </a:lnTo>
                <a:lnTo>
                  <a:pt x="109023" y="10227"/>
                </a:lnTo>
                <a:lnTo>
                  <a:pt x="109636" y="10023"/>
                </a:lnTo>
                <a:lnTo>
                  <a:pt x="106159" y="10023"/>
                </a:lnTo>
                <a:lnTo>
                  <a:pt x="106977" y="9716"/>
                </a:lnTo>
                <a:lnTo>
                  <a:pt x="105239" y="9716"/>
                </a:lnTo>
                <a:lnTo>
                  <a:pt x="105852" y="9205"/>
                </a:lnTo>
                <a:lnTo>
                  <a:pt x="107386" y="9205"/>
                </a:lnTo>
                <a:lnTo>
                  <a:pt x="106773" y="8693"/>
                </a:lnTo>
                <a:lnTo>
                  <a:pt x="108409" y="9102"/>
                </a:lnTo>
                <a:lnTo>
                  <a:pt x="109023" y="9716"/>
                </a:lnTo>
                <a:lnTo>
                  <a:pt x="109636" y="9307"/>
                </a:lnTo>
                <a:lnTo>
                  <a:pt x="109636" y="9716"/>
                </a:lnTo>
                <a:lnTo>
                  <a:pt x="110148" y="9307"/>
                </a:lnTo>
                <a:lnTo>
                  <a:pt x="110148" y="8795"/>
                </a:lnTo>
                <a:lnTo>
                  <a:pt x="109739" y="9000"/>
                </a:lnTo>
                <a:lnTo>
                  <a:pt x="110148" y="8591"/>
                </a:lnTo>
                <a:lnTo>
                  <a:pt x="108205" y="8080"/>
                </a:lnTo>
                <a:lnTo>
                  <a:pt x="108511" y="7977"/>
                </a:lnTo>
                <a:lnTo>
                  <a:pt x="108307" y="7670"/>
                </a:lnTo>
                <a:lnTo>
                  <a:pt x="107284" y="7773"/>
                </a:lnTo>
                <a:lnTo>
                  <a:pt x="107284" y="7773"/>
                </a:lnTo>
                <a:lnTo>
                  <a:pt x="108211" y="7587"/>
                </a:lnTo>
                <a:lnTo>
                  <a:pt x="108211" y="7587"/>
                </a:lnTo>
                <a:lnTo>
                  <a:pt x="106875" y="7466"/>
                </a:lnTo>
                <a:lnTo>
                  <a:pt x="107489" y="7364"/>
                </a:lnTo>
                <a:lnTo>
                  <a:pt x="107080" y="7159"/>
                </a:lnTo>
                <a:lnTo>
                  <a:pt x="108716" y="7159"/>
                </a:lnTo>
                <a:lnTo>
                  <a:pt x="108307" y="6852"/>
                </a:lnTo>
                <a:lnTo>
                  <a:pt x="111375" y="7159"/>
                </a:lnTo>
                <a:lnTo>
                  <a:pt x="111068" y="6750"/>
                </a:lnTo>
                <a:lnTo>
                  <a:pt x="110352" y="6750"/>
                </a:lnTo>
                <a:lnTo>
                  <a:pt x="110352" y="6545"/>
                </a:lnTo>
                <a:lnTo>
                  <a:pt x="110659" y="6239"/>
                </a:lnTo>
                <a:lnTo>
                  <a:pt x="110557" y="6545"/>
                </a:lnTo>
                <a:lnTo>
                  <a:pt x="112295" y="6443"/>
                </a:lnTo>
                <a:lnTo>
                  <a:pt x="111989" y="6034"/>
                </a:lnTo>
                <a:lnTo>
                  <a:pt x="111273" y="6239"/>
                </a:lnTo>
                <a:lnTo>
                  <a:pt x="111273" y="5830"/>
                </a:lnTo>
                <a:lnTo>
                  <a:pt x="110557" y="5830"/>
                </a:lnTo>
                <a:lnTo>
                  <a:pt x="111784" y="5727"/>
                </a:lnTo>
                <a:lnTo>
                  <a:pt x="112091" y="5830"/>
                </a:lnTo>
                <a:lnTo>
                  <a:pt x="112193" y="5011"/>
                </a:lnTo>
                <a:lnTo>
                  <a:pt x="111375" y="4909"/>
                </a:lnTo>
                <a:lnTo>
                  <a:pt x="111068" y="4705"/>
                </a:lnTo>
                <a:lnTo>
                  <a:pt x="110659" y="4602"/>
                </a:lnTo>
                <a:lnTo>
                  <a:pt x="113011" y="4500"/>
                </a:lnTo>
                <a:lnTo>
                  <a:pt x="113216" y="4091"/>
                </a:lnTo>
                <a:lnTo>
                  <a:pt x="111989" y="3886"/>
                </a:lnTo>
                <a:lnTo>
                  <a:pt x="112807" y="3886"/>
                </a:lnTo>
                <a:lnTo>
                  <a:pt x="111580" y="3784"/>
                </a:lnTo>
                <a:lnTo>
                  <a:pt x="112091" y="3170"/>
                </a:lnTo>
                <a:lnTo>
                  <a:pt x="111989" y="3068"/>
                </a:lnTo>
                <a:lnTo>
                  <a:pt x="113114" y="2557"/>
                </a:lnTo>
                <a:lnTo>
                  <a:pt x="112909" y="2352"/>
                </a:lnTo>
                <a:lnTo>
                  <a:pt x="113216" y="1943"/>
                </a:lnTo>
                <a:lnTo>
                  <a:pt x="115261" y="1841"/>
                </a:lnTo>
                <a:lnTo>
                  <a:pt x="114750" y="1739"/>
                </a:lnTo>
                <a:lnTo>
                  <a:pt x="116284" y="1534"/>
                </a:lnTo>
                <a:lnTo>
                  <a:pt x="116080" y="1432"/>
                </a:lnTo>
                <a:lnTo>
                  <a:pt x="117818" y="1125"/>
                </a:lnTo>
                <a:lnTo>
                  <a:pt x="111273" y="1636"/>
                </a:lnTo>
                <a:lnTo>
                  <a:pt x="111273" y="1636"/>
                </a:lnTo>
                <a:lnTo>
                  <a:pt x="112398" y="1125"/>
                </a:lnTo>
                <a:lnTo>
                  <a:pt x="107898" y="818"/>
                </a:lnTo>
                <a:lnTo>
                  <a:pt x="112500" y="409"/>
                </a:lnTo>
                <a:lnTo>
                  <a:pt x="106977" y="205"/>
                </a:lnTo>
                <a:lnTo>
                  <a:pt x="110352" y="0"/>
                </a:lnTo>
                <a:close/>
                <a:moveTo>
                  <a:pt x="5114" y="22807"/>
                </a:moveTo>
                <a:lnTo>
                  <a:pt x="5069" y="22823"/>
                </a:lnTo>
                <a:lnTo>
                  <a:pt x="5069" y="22823"/>
                </a:lnTo>
                <a:lnTo>
                  <a:pt x="5011" y="22909"/>
                </a:lnTo>
                <a:lnTo>
                  <a:pt x="5114" y="22807"/>
                </a:lnTo>
                <a:close/>
                <a:moveTo>
                  <a:pt x="133057" y="23011"/>
                </a:moveTo>
                <a:lnTo>
                  <a:pt x="132955" y="23216"/>
                </a:lnTo>
                <a:lnTo>
                  <a:pt x="132443" y="23216"/>
                </a:lnTo>
                <a:lnTo>
                  <a:pt x="132955" y="23727"/>
                </a:lnTo>
                <a:lnTo>
                  <a:pt x="133261" y="23727"/>
                </a:lnTo>
                <a:lnTo>
                  <a:pt x="133568" y="23216"/>
                </a:lnTo>
                <a:lnTo>
                  <a:pt x="133057" y="23011"/>
                </a:lnTo>
                <a:close/>
                <a:moveTo>
                  <a:pt x="1125" y="23625"/>
                </a:moveTo>
                <a:lnTo>
                  <a:pt x="102" y="24034"/>
                </a:lnTo>
                <a:lnTo>
                  <a:pt x="1120" y="23634"/>
                </a:lnTo>
                <a:lnTo>
                  <a:pt x="1120" y="23634"/>
                </a:lnTo>
                <a:lnTo>
                  <a:pt x="1125" y="23625"/>
                </a:lnTo>
                <a:close/>
                <a:moveTo>
                  <a:pt x="102" y="24034"/>
                </a:moveTo>
                <a:lnTo>
                  <a:pt x="102" y="24034"/>
                </a:lnTo>
                <a:lnTo>
                  <a:pt x="102" y="24034"/>
                </a:lnTo>
                <a:close/>
                <a:moveTo>
                  <a:pt x="138170" y="24136"/>
                </a:moveTo>
                <a:lnTo>
                  <a:pt x="138375" y="24239"/>
                </a:lnTo>
                <a:lnTo>
                  <a:pt x="138477" y="24239"/>
                </a:lnTo>
                <a:lnTo>
                  <a:pt x="138170" y="24136"/>
                </a:lnTo>
                <a:close/>
                <a:moveTo>
                  <a:pt x="118534" y="23523"/>
                </a:moveTo>
                <a:lnTo>
                  <a:pt x="118636" y="23625"/>
                </a:lnTo>
                <a:lnTo>
                  <a:pt x="118330" y="23932"/>
                </a:lnTo>
                <a:lnTo>
                  <a:pt x="118330" y="23727"/>
                </a:lnTo>
                <a:lnTo>
                  <a:pt x="117818" y="23830"/>
                </a:lnTo>
                <a:lnTo>
                  <a:pt x="117511" y="24239"/>
                </a:lnTo>
                <a:lnTo>
                  <a:pt x="117920" y="24239"/>
                </a:lnTo>
                <a:lnTo>
                  <a:pt x="117614" y="24648"/>
                </a:lnTo>
                <a:lnTo>
                  <a:pt x="116489" y="24750"/>
                </a:lnTo>
                <a:lnTo>
                  <a:pt x="116591" y="24852"/>
                </a:lnTo>
                <a:lnTo>
                  <a:pt x="116591" y="25057"/>
                </a:lnTo>
                <a:lnTo>
                  <a:pt x="116795" y="24955"/>
                </a:lnTo>
                <a:lnTo>
                  <a:pt x="116693" y="25261"/>
                </a:lnTo>
                <a:lnTo>
                  <a:pt x="116386" y="25364"/>
                </a:lnTo>
                <a:lnTo>
                  <a:pt x="116386" y="25466"/>
                </a:lnTo>
                <a:lnTo>
                  <a:pt x="116591" y="25466"/>
                </a:lnTo>
                <a:lnTo>
                  <a:pt x="116591" y="25568"/>
                </a:lnTo>
                <a:lnTo>
                  <a:pt x="117307" y="25670"/>
                </a:lnTo>
                <a:lnTo>
                  <a:pt x="116489" y="26284"/>
                </a:lnTo>
                <a:lnTo>
                  <a:pt x="116489" y="26284"/>
                </a:lnTo>
                <a:lnTo>
                  <a:pt x="117409" y="26182"/>
                </a:lnTo>
                <a:lnTo>
                  <a:pt x="116489" y="26489"/>
                </a:lnTo>
                <a:lnTo>
                  <a:pt x="116591" y="26591"/>
                </a:lnTo>
                <a:lnTo>
                  <a:pt x="116080" y="26693"/>
                </a:lnTo>
                <a:lnTo>
                  <a:pt x="116489" y="26693"/>
                </a:lnTo>
                <a:lnTo>
                  <a:pt x="116080" y="27000"/>
                </a:lnTo>
                <a:lnTo>
                  <a:pt x="116693" y="27000"/>
                </a:lnTo>
                <a:lnTo>
                  <a:pt x="116284" y="27205"/>
                </a:lnTo>
                <a:lnTo>
                  <a:pt x="116284" y="27205"/>
                </a:lnTo>
                <a:lnTo>
                  <a:pt x="116693" y="27102"/>
                </a:lnTo>
                <a:lnTo>
                  <a:pt x="116489" y="27307"/>
                </a:lnTo>
                <a:lnTo>
                  <a:pt x="119250" y="26591"/>
                </a:lnTo>
                <a:lnTo>
                  <a:pt x="119148" y="26489"/>
                </a:lnTo>
                <a:lnTo>
                  <a:pt x="119455" y="24852"/>
                </a:lnTo>
                <a:lnTo>
                  <a:pt x="119352" y="24750"/>
                </a:lnTo>
                <a:lnTo>
                  <a:pt x="119966" y="24545"/>
                </a:lnTo>
                <a:lnTo>
                  <a:pt x="119864" y="24341"/>
                </a:lnTo>
                <a:lnTo>
                  <a:pt x="119659" y="24239"/>
                </a:lnTo>
                <a:lnTo>
                  <a:pt x="119455" y="23727"/>
                </a:lnTo>
                <a:lnTo>
                  <a:pt x="118636" y="23830"/>
                </a:lnTo>
                <a:lnTo>
                  <a:pt x="118841" y="23625"/>
                </a:lnTo>
                <a:lnTo>
                  <a:pt x="118534" y="23523"/>
                </a:lnTo>
                <a:close/>
                <a:moveTo>
                  <a:pt x="121398" y="20455"/>
                </a:moveTo>
                <a:lnTo>
                  <a:pt x="120477" y="20761"/>
                </a:lnTo>
                <a:lnTo>
                  <a:pt x="119966" y="21682"/>
                </a:lnTo>
                <a:lnTo>
                  <a:pt x="119761" y="22091"/>
                </a:lnTo>
                <a:lnTo>
                  <a:pt x="119864" y="22091"/>
                </a:lnTo>
                <a:lnTo>
                  <a:pt x="119557" y="22295"/>
                </a:lnTo>
                <a:lnTo>
                  <a:pt x="120273" y="22193"/>
                </a:lnTo>
                <a:lnTo>
                  <a:pt x="119966" y="23523"/>
                </a:lnTo>
                <a:lnTo>
                  <a:pt x="120170" y="23011"/>
                </a:lnTo>
                <a:lnTo>
                  <a:pt x="120580" y="22807"/>
                </a:lnTo>
                <a:lnTo>
                  <a:pt x="120682" y="23011"/>
                </a:lnTo>
                <a:lnTo>
                  <a:pt x="120375" y="24239"/>
                </a:lnTo>
                <a:lnTo>
                  <a:pt x="121807" y="23932"/>
                </a:lnTo>
                <a:lnTo>
                  <a:pt x="122011" y="25568"/>
                </a:lnTo>
                <a:lnTo>
                  <a:pt x="120580" y="26080"/>
                </a:lnTo>
                <a:lnTo>
                  <a:pt x="120580" y="26080"/>
                </a:lnTo>
                <a:lnTo>
                  <a:pt x="120989" y="25977"/>
                </a:lnTo>
                <a:lnTo>
                  <a:pt x="121091" y="26284"/>
                </a:lnTo>
                <a:lnTo>
                  <a:pt x="120068" y="27000"/>
                </a:lnTo>
                <a:lnTo>
                  <a:pt x="120989" y="27205"/>
                </a:lnTo>
                <a:lnTo>
                  <a:pt x="120886" y="27307"/>
                </a:lnTo>
                <a:lnTo>
                  <a:pt x="121602" y="27409"/>
                </a:lnTo>
                <a:lnTo>
                  <a:pt x="122216" y="27102"/>
                </a:lnTo>
                <a:lnTo>
                  <a:pt x="121602" y="27614"/>
                </a:lnTo>
                <a:lnTo>
                  <a:pt x="120989" y="27614"/>
                </a:lnTo>
                <a:lnTo>
                  <a:pt x="119761" y="28739"/>
                </a:lnTo>
                <a:lnTo>
                  <a:pt x="120068" y="28841"/>
                </a:lnTo>
                <a:lnTo>
                  <a:pt x="120375" y="28534"/>
                </a:lnTo>
                <a:lnTo>
                  <a:pt x="121091" y="28534"/>
                </a:lnTo>
                <a:lnTo>
                  <a:pt x="121807" y="28125"/>
                </a:lnTo>
                <a:lnTo>
                  <a:pt x="122625" y="28227"/>
                </a:lnTo>
                <a:lnTo>
                  <a:pt x="122523" y="28125"/>
                </a:lnTo>
                <a:lnTo>
                  <a:pt x="123136" y="28023"/>
                </a:lnTo>
                <a:lnTo>
                  <a:pt x="123034" y="27920"/>
                </a:lnTo>
                <a:lnTo>
                  <a:pt x="124773" y="27920"/>
                </a:lnTo>
                <a:lnTo>
                  <a:pt x="125182" y="27409"/>
                </a:lnTo>
                <a:lnTo>
                  <a:pt x="124466" y="27409"/>
                </a:lnTo>
                <a:lnTo>
                  <a:pt x="125080" y="26898"/>
                </a:lnTo>
                <a:lnTo>
                  <a:pt x="125284" y="25977"/>
                </a:lnTo>
                <a:lnTo>
                  <a:pt x="124159" y="25977"/>
                </a:lnTo>
                <a:lnTo>
                  <a:pt x="123648" y="25159"/>
                </a:lnTo>
                <a:lnTo>
                  <a:pt x="124261" y="25261"/>
                </a:lnTo>
                <a:lnTo>
                  <a:pt x="124261" y="25261"/>
                </a:lnTo>
                <a:lnTo>
                  <a:pt x="124057" y="24750"/>
                </a:lnTo>
                <a:lnTo>
                  <a:pt x="123239" y="24239"/>
                </a:lnTo>
                <a:lnTo>
                  <a:pt x="122932" y="23420"/>
                </a:lnTo>
                <a:lnTo>
                  <a:pt x="121295" y="22807"/>
                </a:lnTo>
                <a:lnTo>
                  <a:pt x="122011" y="22705"/>
                </a:lnTo>
                <a:lnTo>
                  <a:pt x="121705" y="22602"/>
                </a:lnTo>
                <a:lnTo>
                  <a:pt x="122318" y="22295"/>
                </a:lnTo>
                <a:lnTo>
                  <a:pt x="122830" y="21580"/>
                </a:lnTo>
                <a:lnTo>
                  <a:pt x="121091" y="21375"/>
                </a:lnTo>
                <a:lnTo>
                  <a:pt x="121295" y="21170"/>
                </a:lnTo>
                <a:lnTo>
                  <a:pt x="121193" y="21170"/>
                </a:lnTo>
                <a:lnTo>
                  <a:pt x="121807" y="20659"/>
                </a:lnTo>
                <a:lnTo>
                  <a:pt x="121398" y="20455"/>
                </a:lnTo>
                <a:close/>
                <a:moveTo>
                  <a:pt x="23830" y="27920"/>
                </a:moveTo>
                <a:lnTo>
                  <a:pt x="23523" y="28330"/>
                </a:lnTo>
                <a:lnTo>
                  <a:pt x="24034" y="28227"/>
                </a:lnTo>
                <a:lnTo>
                  <a:pt x="23932" y="28432"/>
                </a:lnTo>
                <a:lnTo>
                  <a:pt x="23523" y="28534"/>
                </a:lnTo>
                <a:lnTo>
                  <a:pt x="23625" y="28534"/>
                </a:lnTo>
                <a:lnTo>
                  <a:pt x="23420" y="28739"/>
                </a:lnTo>
                <a:lnTo>
                  <a:pt x="23830" y="28739"/>
                </a:lnTo>
                <a:lnTo>
                  <a:pt x="23932" y="28636"/>
                </a:lnTo>
                <a:lnTo>
                  <a:pt x="24034" y="28943"/>
                </a:lnTo>
                <a:lnTo>
                  <a:pt x="24443" y="29148"/>
                </a:lnTo>
                <a:lnTo>
                  <a:pt x="24034" y="29455"/>
                </a:lnTo>
                <a:lnTo>
                  <a:pt x="24443" y="29455"/>
                </a:lnTo>
                <a:lnTo>
                  <a:pt x="24341" y="29557"/>
                </a:lnTo>
                <a:lnTo>
                  <a:pt x="24545" y="29659"/>
                </a:lnTo>
                <a:lnTo>
                  <a:pt x="24341" y="29761"/>
                </a:lnTo>
                <a:lnTo>
                  <a:pt x="25261" y="29557"/>
                </a:lnTo>
                <a:lnTo>
                  <a:pt x="25057" y="30273"/>
                </a:lnTo>
                <a:lnTo>
                  <a:pt x="25057" y="30273"/>
                </a:lnTo>
                <a:lnTo>
                  <a:pt x="25875" y="30170"/>
                </a:lnTo>
                <a:lnTo>
                  <a:pt x="25466" y="28534"/>
                </a:lnTo>
                <a:lnTo>
                  <a:pt x="23830" y="27920"/>
                </a:lnTo>
                <a:close/>
                <a:moveTo>
                  <a:pt x="25875" y="30170"/>
                </a:moveTo>
                <a:lnTo>
                  <a:pt x="25875" y="30273"/>
                </a:lnTo>
                <a:lnTo>
                  <a:pt x="25977" y="30170"/>
                </a:lnTo>
                <a:close/>
                <a:moveTo>
                  <a:pt x="72102" y="30989"/>
                </a:moveTo>
                <a:lnTo>
                  <a:pt x="72146" y="31003"/>
                </a:lnTo>
                <a:lnTo>
                  <a:pt x="72146" y="31003"/>
                </a:lnTo>
                <a:lnTo>
                  <a:pt x="72205" y="30989"/>
                </a:lnTo>
                <a:close/>
                <a:moveTo>
                  <a:pt x="25568" y="31398"/>
                </a:moveTo>
                <a:lnTo>
                  <a:pt x="25364" y="31500"/>
                </a:lnTo>
                <a:lnTo>
                  <a:pt x="25364" y="31500"/>
                </a:lnTo>
                <a:lnTo>
                  <a:pt x="25466" y="31398"/>
                </a:lnTo>
                <a:close/>
                <a:moveTo>
                  <a:pt x="80386" y="31500"/>
                </a:moveTo>
                <a:lnTo>
                  <a:pt x="80386" y="31500"/>
                </a:lnTo>
                <a:lnTo>
                  <a:pt x="80386" y="31500"/>
                </a:lnTo>
                <a:close/>
                <a:moveTo>
                  <a:pt x="80693" y="27307"/>
                </a:moveTo>
                <a:lnTo>
                  <a:pt x="80182" y="27409"/>
                </a:lnTo>
                <a:lnTo>
                  <a:pt x="78136" y="29864"/>
                </a:lnTo>
                <a:lnTo>
                  <a:pt x="77625" y="29966"/>
                </a:lnTo>
                <a:lnTo>
                  <a:pt x="77318" y="30170"/>
                </a:lnTo>
                <a:lnTo>
                  <a:pt x="77420" y="30068"/>
                </a:lnTo>
                <a:lnTo>
                  <a:pt x="77011" y="30273"/>
                </a:lnTo>
                <a:lnTo>
                  <a:pt x="77727" y="30273"/>
                </a:lnTo>
                <a:lnTo>
                  <a:pt x="76705" y="30989"/>
                </a:lnTo>
                <a:lnTo>
                  <a:pt x="79466" y="30989"/>
                </a:lnTo>
                <a:lnTo>
                  <a:pt x="79159" y="31295"/>
                </a:lnTo>
                <a:lnTo>
                  <a:pt x="80284" y="31193"/>
                </a:lnTo>
                <a:lnTo>
                  <a:pt x="79261" y="32011"/>
                </a:lnTo>
                <a:lnTo>
                  <a:pt x="80489" y="31295"/>
                </a:lnTo>
                <a:lnTo>
                  <a:pt x="80386" y="31500"/>
                </a:lnTo>
                <a:lnTo>
                  <a:pt x="80795" y="30989"/>
                </a:lnTo>
                <a:lnTo>
                  <a:pt x="81000" y="31398"/>
                </a:lnTo>
                <a:lnTo>
                  <a:pt x="80591" y="32011"/>
                </a:lnTo>
                <a:lnTo>
                  <a:pt x="81102" y="31705"/>
                </a:lnTo>
                <a:lnTo>
                  <a:pt x="81000" y="32216"/>
                </a:lnTo>
                <a:lnTo>
                  <a:pt x="81000" y="32216"/>
                </a:lnTo>
                <a:lnTo>
                  <a:pt x="81409" y="32114"/>
                </a:lnTo>
                <a:lnTo>
                  <a:pt x="81920" y="31091"/>
                </a:lnTo>
                <a:lnTo>
                  <a:pt x="81511" y="31398"/>
                </a:lnTo>
                <a:lnTo>
                  <a:pt x="81920" y="30682"/>
                </a:lnTo>
                <a:lnTo>
                  <a:pt x="81205" y="31193"/>
                </a:lnTo>
                <a:lnTo>
                  <a:pt x="81205" y="31193"/>
                </a:lnTo>
                <a:lnTo>
                  <a:pt x="81307" y="30784"/>
                </a:lnTo>
                <a:lnTo>
                  <a:pt x="81102" y="30784"/>
                </a:lnTo>
                <a:lnTo>
                  <a:pt x="81920" y="30170"/>
                </a:lnTo>
                <a:lnTo>
                  <a:pt x="81920" y="30170"/>
                </a:lnTo>
                <a:lnTo>
                  <a:pt x="81000" y="30477"/>
                </a:lnTo>
                <a:lnTo>
                  <a:pt x="81409" y="30170"/>
                </a:lnTo>
                <a:lnTo>
                  <a:pt x="81205" y="30068"/>
                </a:lnTo>
                <a:lnTo>
                  <a:pt x="81307" y="29966"/>
                </a:lnTo>
                <a:lnTo>
                  <a:pt x="81102" y="30068"/>
                </a:lnTo>
                <a:lnTo>
                  <a:pt x="81716" y="29557"/>
                </a:lnTo>
                <a:lnTo>
                  <a:pt x="81000" y="29455"/>
                </a:lnTo>
                <a:lnTo>
                  <a:pt x="81102" y="29250"/>
                </a:lnTo>
                <a:lnTo>
                  <a:pt x="80284" y="29761"/>
                </a:lnTo>
                <a:lnTo>
                  <a:pt x="80489" y="29250"/>
                </a:lnTo>
                <a:lnTo>
                  <a:pt x="80489" y="29250"/>
                </a:lnTo>
                <a:lnTo>
                  <a:pt x="80284" y="29455"/>
                </a:lnTo>
                <a:lnTo>
                  <a:pt x="80386" y="29352"/>
                </a:lnTo>
                <a:lnTo>
                  <a:pt x="79773" y="29352"/>
                </a:lnTo>
                <a:lnTo>
                  <a:pt x="79977" y="29148"/>
                </a:lnTo>
                <a:lnTo>
                  <a:pt x="79773" y="29250"/>
                </a:lnTo>
                <a:lnTo>
                  <a:pt x="80386" y="28841"/>
                </a:lnTo>
                <a:lnTo>
                  <a:pt x="79261" y="29250"/>
                </a:lnTo>
                <a:lnTo>
                  <a:pt x="80489" y="27716"/>
                </a:lnTo>
                <a:lnTo>
                  <a:pt x="80591" y="27511"/>
                </a:lnTo>
                <a:lnTo>
                  <a:pt x="80898" y="27307"/>
                </a:lnTo>
                <a:close/>
                <a:moveTo>
                  <a:pt x="239523" y="32216"/>
                </a:moveTo>
                <a:lnTo>
                  <a:pt x="240239" y="32830"/>
                </a:lnTo>
                <a:lnTo>
                  <a:pt x="239727" y="32318"/>
                </a:lnTo>
                <a:lnTo>
                  <a:pt x="239523" y="32216"/>
                </a:lnTo>
                <a:close/>
                <a:moveTo>
                  <a:pt x="232875" y="24443"/>
                </a:moveTo>
                <a:lnTo>
                  <a:pt x="232773" y="24648"/>
                </a:lnTo>
                <a:lnTo>
                  <a:pt x="233591" y="25159"/>
                </a:lnTo>
                <a:lnTo>
                  <a:pt x="233489" y="25261"/>
                </a:lnTo>
                <a:lnTo>
                  <a:pt x="233386" y="25364"/>
                </a:lnTo>
                <a:lnTo>
                  <a:pt x="234511" y="27102"/>
                </a:lnTo>
                <a:lnTo>
                  <a:pt x="239216" y="32932"/>
                </a:lnTo>
                <a:lnTo>
                  <a:pt x="239114" y="32114"/>
                </a:lnTo>
                <a:lnTo>
                  <a:pt x="239523" y="32216"/>
                </a:lnTo>
                <a:lnTo>
                  <a:pt x="239523" y="32216"/>
                </a:lnTo>
                <a:lnTo>
                  <a:pt x="238193" y="31091"/>
                </a:lnTo>
                <a:lnTo>
                  <a:pt x="237784" y="29557"/>
                </a:lnTo>
                <a:lnTo>
                  <a:pt x="239318" y="30170"/>
                </a:lnTo>
                <a:lnTo>
                  <a:pt x="232875" y="24443"/>
                </a:lnTo>
                <a:close/>
                <a:moveTo>
                  <a:pt x="244841" y="33341"/>
                </a:moveTo>
                <a:lnTo>
                  <a:pt x="244330" y="33443"/>
                </a:lnTo>
                <a:lnTo>
                  <a:pt x="244432" y="33648"/>
                </a:lnTo>
                <a:lnTo>
                  <a:pt x="244125" y="34364"/>
                </a:lnTo>
                <a:lnTo>
                  <a:pt x="244125" y="34466"/>
                </a:lnTo>
                <a:lnTo>
                  <a:pt x="244330" y="33955"/>
                </a:lnTo>
                <a:lnTo>
                  <a:pt x="245045" y="33545"/>
                </a:lnTo>
                <a:lnTo>
                  <a:pt x="244841" y="33341"/>
                </a:lnTo>
                <a:close/>
                <a:moveTo>
                  <a:pt x="243409" y="34466"/>
                </a:moveTo>
                <a:lnTo>
                  <a:pt x="243409" y="35080"/>
                </a:lnTo>
                <a:lnTo>
                  <a:pt x="243614" y="35284"/>
                </a:lnTo>
                <a:lnTo>
                  <a:pt x="243920" y="34466"/>
                </a:lnTo>
                <a:close/>
                <a:moveTo>
                  <a:pt x="54102" y="29864"/>
                </a:moveTo>
                <a:lnTo>
                  <a:pt x="56352" y="30886"/>
                </a:lnTo>
                <a:lnTo>
                  <a:pt x="56045" y="31193"/>
                </a:lnTo>
                <a:lnTo>
                  <a:pt x="56250" y="31602"/>
                </a:lnTo>
                <a:lnTo>
                  <a:pt x="56045" y="31807"/>
                </a:lnTo>
                <a:lnTo>
                  <a:pt x="56250" y="32011"/>
                </a:lnTo>
                <a:lnTo>
                  <a:pt x="56045" y="32114"/>
                </a:lnTo>
                <a:lnTo>
                  <a:pt x="56148" y="32114"/>
                </a:lnTo>
                <a:lnTo>
                  <a:pt x="55943" y="32318"/>
                </a:lnTo>
                <a:lnTo>
                  <a:pt x="58193" y="32727"/>
                </a:lnTo>
                <a:lnTo>
                  <a:pt x="58091" y="32830"/>
                </a:lnTo>
                <a:lnTo>
                  <a:pt x="58500" y="32830"/>
                </a:lnTo>
                <a:lnTo>
                  <a:pt x="58500" y="32932"/>
                </a:lnTo>
                <a:lnTo>
                  <a:pt x="58909" y="33239"/>
                </a:lnTo>
                <a:lnTo>
                  <a:pt x="59114" y="34057"/>
                </a:lnTo>
                <a:lnTo>
                  <a:pt x="59216" y="34057"/>
                </a:lnTo>
                <a:lnTo>
                  <a:pt x="59216" y="34159"/>
                </a:lnTo>
                <a:lnTo>
                  <a:pt x="59011" y="34057"/>
                </a:lnTo>
                <a:lnTo>
                  <a:pt x="58807" y="34364"/>
                </a:lnTo>
                <a:lnTo>
                  <a:pt x="58091" y="34261"/>
                </a:lnTo>
                <a:lnTo>
                  <a:pt x="57989" y="34159"/>
                </a:lnTo>
                <a:lnTo>
                  <a:pt x="58193" y="33955"/>
                </a:lnTo>
                <a:lnTo>
                  <a:pt x="58091" y="33955"/>
                </a:lnTo>
                <a:lnTo>
                  <a:pt x="58091" y="33648"/>
                </a:lnTo>
                <a:lnTo>
                  <a:pt x="57682" y="33648"/>
                </a:lnTo>
                <a:lnTo>
                  <a:pt x="56250" y="35898"/>
                </a:lnTo>
                <a:lnTo>
                  <a:pt x="56045" y="34875"/>
                </a:lnTo>
                <a:lnTo>
                  <a:pt x="55330" y="35182"/>
                </a:lnTo>
                <a:lnTo>
                  <a:pt x="55330" y="35182"/>
                </a:lnTo>
                <a:lnTo>
                  <a:pt x="56352" y="33750"/>
                </a:lnTo>
                <a:lnTo>
                  <a:pt x="56250" y="33443"/>
                </a:lnTo>
                <a:lnTo>
                  <a:pt x="55330" y="33136"/>
                </a:lnTo>
                <a:lnTo>
                  <a:pt x="54409" y="34159"/>
                </a:lnTo>
                <a:lnTo>
                  <a:pt x="54614" y="33648"/>
                </a:lnTo>
                <a:lnTo>
                  <a:pt x="52568" y="36818"/>
                </a:lnTo>
                <a:lnTo>
                  <a:pt x="51545" y="37125"/>
                </a:lnTo>
                <a:lnTo>
                  <a:pt x="52773" y="34364"/>
                </a:lnTo>
                <a:lnTo>
                  <a:pt x="52364" y="34364"/>
                </a:lnTo>
                <a:lnTo>
                  <a:pt x="53693" y="32932"/>
                </a:lnTo>
                <a:lnTo>
                  <a:pt x="53693" y="33136"/>
                </a:lnTo>
                <a:lnTo>
                  <a:pt x="54102" y="32932"/>
                </a:lnTo>
                <a:lnTo>
                  <a:pt x="53898" y="33239"/>
                </a:lnTo>
                <a:lnTo>
                  <a:pt x="53898" y="33239"/>
                </a:lnTo>
                <a:lnTo>
                  <a:pt x="55125" y="32727"/>
                </a:lnTo>
                <a:lnTo>
                  <a:pt x="55534" y="32932"/>
                </a:lnTo>
                <a:lnTo>
                  <a:pt x="55636" y="32830"/>
                </a:lnTo>
                <a:lnTo>
                  <a:pt x="56250" y="32830"/>
                </a:lnTo>
                <a:lnTo>
                  <a:pt x="55534" y="32318"/>
                </a:lnTo>
                <a:lnTo>
                  <a:pt x="55739" y="32114"/>
                </a:lnTo>
                <a:lnTo>
                  <a:pt x="53693" y="32318"/>
                </a:lnTo>
                <a:lnTo>
                  <a:pt x="53591" y="32011"/>
                </a:lnTo>
                <a:lnTo>
                  <a:pt x="52977" y="32011"/>
                </a:lnTo>
                <a:lnTo>
                  <a:pt x="52977" y="31602"/>
                </a:lnTo>
                <a:lnTo>
                  <a:pt x="50830" y="32216"/>
                </a:lnTo>
                <a:lnTo>
                  <a:pt x="50830" y="31909"/>
                </a:lnTo>
                <a:lnTo>
                  <a:pt x="50011" y="32011"/>
                </a:lnTo>
                <a:lnTo>
                  <a:pt x="53489" y="30273"/>
                </a:lnTo>
                <a:lnTo>
                  <a:pt x="53489" y="30273"/>
                </a:lnTo>
                <a:lnTo>
                  <a:pt x="53693" y="30068"/>
                </a:lnTo>
                <a:lnTo>
                  <a:pt x="53898" y="30068"/>
                </a:lnTo>
                <a:lnTo>
                  <a:pt x="53591" y="30375"/>
                </a:lnTo>
                <a:lnTo>
                  <a:pt x="54102" y="30068"/>
                </a:lnTo>
                <a:lnTo>
                  <a:pt x="54102" y="29864"/>
                </a:lnTo>
                <a:close/>
                <a:moveTo>
                  <a:pt x="131932" y="36000"/>
                </a:moveTo>
                <a:lnTo>
                  <a:pt x="131830" y="36205"/>
                </a:lnTo>
                <a:lnTo>
                  <a:pt x="131216" y="36511"/>
                </a:lnTo>
                <a:lnTo>
                  <a:pt x="131318" y="36614"/>
                </a:lnTo>
                <a:lnTo>
                  <a:pt x="131318" y="37023"/>
                </a:lnTo>
                <a:lnTo>
                  <a:pt x="131830" y="37432"/>
                </a:lnTo>
                <a:lnTo>
                  <a:pt x="131932" y="36000"/>
                </a:lnTo>
                <a:close/>
                <a:moveTo>
                  <a:pt x="239216" y="33443"/>
                </a:moveTo>
                <a:lnTo>
                  <a:pt x="240341" y="35693"/>
                </a:lnTo>
                <a:lnTo>
                  <a:pt x="239625" y="35591"/>
                </a:lnTo>
                <a:lnTo>
                  <a:pt x="239625" y="36205"/>
                </a:lnTo>
                <a:lnTo>
                  <a:pt x="240750" y="37432"/>
                </a:lnTo>
                <a:lnTo>
                  <a:pt x="240750" y="37125"/>
                </a:lnTo>
                <a:lnTo>
                  <a:pt x="241159" y="37125"/>
                </a:lnTo>
                <a:lnTo>
                  <a:pt x="240239" y="36614"/>
                </a:lnTo>
                <a:lnTo>
                  <a:pt x="240341" y="36307"/>
                </a:lnTo>
                <a:lnTo>
                  <a:pt x="240750" y="36511"/>
                </a:lnTo>
                <a:lnTo>
                  <a:pt x="241364" y="36409"/>
                </a:lnTo>
                <a:lnTo>
                  <a:pt x="242795" y="36920"/>
                </a:lnTo>
                <a:lnTo>
                  <a:pt x="242693" y="36409"/>
                </a:lnTo>
                <a:lnTo>
                  <a:pt x="244023" y="35489"/>
                </a:lnTo>
                <a:lnTo>
                  <a:pt x="243716" y="35591"/>
                </a:lnTo>
                <a:lnTo>
                  <a:pt x="243205" y="35284"/>
                </a:lnTo>
                <a:lnTo>
                  <a:pt x="242898" y="34568"/>
                </a:lnTo>
                <a:lnTo>
                  <a:pt x="242284" y="34875"/>
                </a:lnTo>
                <a:lnTo>
                  <a:pt x="239216" y="33443"/>
                </a:lnTo>
                <a:close/>
                <a:moveTo>
                  <a:pt x="143693" y="38659"/>
                </a:moveTo>
                <a:lnTo>
                  <a:pt x="144000" y="38864"/>
                </a:lnTo>
                <a:lnTo>
                  <a:pt x="143740" y="38678"/>
                </a:lnTo>
                <a:lnTo>
                  <a:pt x="143740" y="38678"/>
                </a:lnTo>
                <a:lnTo>
                  <a:pt x="143693" y="38659"/>
                </a:lnTo>
                <a:close/>
                <a:moveTo>
                  <a:pt x="155250" y="31602"/>
                </a:moveTo>
                <a:lnTo>
                  <a:pt x="155148" y="31705"/>
                </a:lnTo>
                <a:lnTo>
                  <a:pt x="155659" y="31705"/>
                </a:lnTo>
                <a:lnTo>
                  <a:pt x="155148" y="32011"/>
                </a:lnTo>
                <a:lnTo>
                  <a:pt x="155148" y="32216"/>
                </a:lnTo>
                <a:lnTo>
                  <a:pt x="154636" y="32216"/>
                </a:lnTo>
                <a:lnTo>
                  <a:pt x="155250" y="32727"/>
                </a:lnTo>
                <a:lnTo>
                  <a:pt x="154943" y="32932"/>
                </a:lnTo>
                <a:lnTo>
                  <a:pt x="154739" y="33341"/>
                </a:lnTo>
                <a:lnTo>
                  <a:pt x="154023" y="33443"/>
                </a:lnTo>
                <a:lnTo>
                  <a:pt x="154125" y="33545"/>
                </a:lnTo>
                <a:lnTo>
                  <a:pt x="153920" y="33648"/>
                </a:lnTo>
                <a:lnTo>
                  <a:pt x="158318" y="36205"/>
                </a:lnTo>
                <a:lnTo>
                  <a:pt x="158318" y="37636"/>
                </a:lnTo>
                <a:lnTo>
                  <a:pt x="148398" y="37636"/>
                </a:lnTo>
                <a:lnTo>
                  <a:pt x="149011" y="38148"/>
                </a:lnTo>
                <a:lnTo>
                  <a:pt x="148193" y="38352"/>
                </a:lnTo>
                <a:lnTo>
                  <a:pt x="148398" y="38455"/>
                </a:lnTo>
                <a:lnTo>
                  <a:pt x="147477" y="38557"/>
                </a:lnTo>
                <a:lnTo>
                  <a:pt x="147273" y="38455"/>
                </a:lnTo>
                <a:lnTo>
                  <a:pt x="147273" y="38455"/>
                </a:lnTo>
                <a:lnTo>
                  <a:pt x="147375" y="38557"/>
                </a:lnTo>
                <a:lnTo>
                  <a:pt x="146761" y="38455"/>
                </a:lnTo>
                <a:lnTo>
                  <a:pt x="146045" y="38864"/>
                </a:lnTo>
                <a:lnTo>
                  <a:pt x="146045" y="38864"/>
                </a:lnTo>
                <a:lnTo>
                  <a:pt x="147580" y="37841"/>
                </a:lnTo>
                <a:lnTo>
                  <a:pt x="148091" y="37943"/>
                </a:lnTo>
                <a:lnTo>
                  <a:pt x="148091" y="37943"/>
                </a:lnTo>
                <a:lnTo>
                  <a:pt x="146864" y="36409"/>
                </a:lnTo>
                <a:lnTo>
                  <a:pt x="147682" y="34364"/>
                </a:lnTo>
                <a:lnTo>
                  <a:pt x="147886" y="33955"/>
                </a:lnTo>
                <a:lnTo>
                  <a:pt x="147886" y="34159"/>
                </a:lnTo>
                <a:lnTo>
                  <a:pt x="148295" y="33545"/>
                </a:lnTo>
                <a:lnTo>
                  <a:pt x="148193" y="33239"/>
                </a:lnTo>
                <a:lnTo>
                  <a:pt x="149523" y="32011"/>
                </a:lnTo>
                <a:lnTo>
                  <a:pt x="149830" y="32114"/>
                </a:lnTo>
                <a:lnTo>
                  <a:pt x="149625" y="31602"/>
                </a:lnTo>
                <a:lnTo>
                  <a:pt x="150443" y="32216"/>
                </a:lnTo>
                <a:lnTo>
                  <a:pt x="149625" y="32318"/>
                </a:lnTo>
                <a:lnTo>
                  <a:pt x="150341" y="32727"/>
                </a:lnTo>
                <a:lnTo>
                  <a:pt x="151159" y="32727"/>
                </a:lnTo>
                <a:lnTo>
                  <a:pt x="151261" y="33034"/>
                </a:lnTo>
                <a:lnTo>
                  <a:pt x="150545" y="33443"/>
                </a:lnTo>
                <a:lnTo>
                  <a:pt x="151466" y="33852"/>
                </a:lnTo>
                <a:lnTo>
                  <a:pt x="151466" y="34364"/>
                </a:lnTo>
                <a:lnTo>
                  <a:pt x="152080" y="34364"/>
                </a:lnTo>
                <a:lnTo>
                  <a:pt x="153102" y="33750"/>
                </a:lnTo>
                <a:lnTo>
                  <a:pt x="153614" y="33852"/>
                </a:lnTo>
                <a:lnTo>
                  <a:pt x="153818" y="33443"/>
                </a:lnTo>
                <a:lnTo>
                  <a:pt x="152795" y="33443"/>
                </a:lnTo>
                <a:lnTo>
                  <a:pt x="152386" y="32830"/>
                </a:lnTo>
                <a:lnTo>
                  <a:pt x="152591" y="32420"/>
                </a:lnTo>
                <a:lnTo>
                  <a:pt x="152489" y="32727"/>
                </a:lnTo>
                <a:lnTo>
                  <a:pt x="152489" y="32727"/>
                </a:lnTo>
                <a:lnTo>
                  <a:pt x="155250" y="31602"/>
                </a:lnTo>
                <a:close/>
                <a:moveTo>
                  <a:pt x="144000" y="38864"/>
                </a:moveTo>
                <a:lnTo>
                  <a:pt x="144000" y="38864"/>
                </a:lnTo>
                <a:lnTo>
                  <a:pt x="144000" y="38864"/>
                </a:lnTo>
                <a:close/>
                <a:moveTo>
                  <a:pt x="144000" y="38864"/>
                </a:moveTo>
                <a:lnTo>
                  <a:pt x="144000" y="38864"/>
                </a:lnTo>
                <a:lnTo>
                  <a:pt x="144000" y="38864"/>
                </a:lnTo>
                <a:close/>
                <a:moveTo>
                  <a:pt x="131011" y="37943"/>
                </a:moveTo>
                <a:lnTo>
                  <a:pt x="131011" y="38250"/>
                </a:lnTo>
                <a:lnTo>
                  <a:pt x="131216" y="39580"/>
                </a:lnTo>
                <a:lnTo>
                  <a:pt x="132136" y="39682"/>
                </a:lnTo>
                <a:lnTo>
                  <a:pt x="132136" y="37943"/>
                </a:lnTo>
                <a:close/>
                <a:moveTo>
                  <a:pt x="165580" y="31807"/>
                </a:moveTo>
                <a:lnTo>
                  <a:pt x="166091" y="32011"/>
                </a:lnTo>
                <a:lnTo>
                  <a:pt x="166295" y="31909"/>
                </a:lnTo>
                <a:lnTo>
                  <a:pt x="166705" y="31909"/>
                </a:lnTo>
                <a:lnTo>
                  <a:pt x="167420" y="33545"/>
                </a:lnTo>
                <a:lnTo>
                  <a:pt x="165886" y="33545"/>
                </a:lnTo>
                <a:lnTo>
                  <a:pt x="166193" y="34364"/>
                </a:lnTo>
                <a:lnTo>
                  <a:pt x="165273" y="34568"/>
                </a:lnTo>
                <a:lnTo>
                  <a:pt x="165682" y="34670"/>
                </a:lnTo>
                <a:lnTo>
                  <a:pt x="166398" y="35693"/>
                </a:lnTo>
                <a:lnTo>
                  <a:pt x="166705" y="35795"/>
                </a:lnTo>
                <a:lnTo>
                  <a:pt x="166909" y="36000"/>
                </a:lnTo>
                <a:lnTo>
                  <a:pt x="167420" y="36102"/>
                </a:lnTo>
                <a:lnTo>
                  <a:pt x="168136" y="37739"/>
                </a:lnTo>
                <a:lnTo>
                  <a:pt x="168136" y="36818"/>
                </a:lnTo>
                <a:lnTo>
                  <a:pt x="169670" y="37841"/>
                </a:lnTo>
                <a:lnTo>
                  <a:pt x="169466" y="38250"/>
                </a:lnTo>
                <a:lnTo>
                  <a:pt x="168239" y="37841"/>
                </a:lnTo>
                <a:lnTo>
                  <a:pt x="168648" y="39068"/>
                </a:lnTo>
                <a:lnTo>
                  <a:pt x="168955" y="38864"/>
                </a:lnTo>
                <a:lnTo>
                  <a:pt x="169159" y="39273"/>
                </a:lnTo>
                <a:lnTo>
                  <a:pt x="168852" y="39273"/>
                </a:lnTo>
                <a:lnTo>
                  <a:pt x="168852" y="39580"/>
                </a:lnTo>
                <a:lnTo>
                  <a:pt x="169261" y="39682"/>
                </a:lnTo>
                <a:lnTo>
                  <a:pt x="169773" y="42034"/>
                </a:lnTo>
                <a:lnTo>
                  <a:pt x="169977" y="42034"/>
                </a:lnTo>
                <a:lnTo>
                  <a:pt x="169773" y="42136"/>
                </a:lnTo>
                <a:lnTo>
                  <a:pt x="169773" y="42034"/>
                </a:lnTo>
                <a:lnTo>
                  <a:pt x="167420" y="42136"/>
                </a:lnTo>
                <a:lnTo>
                  <a:pt x="165580" y="41114"/>
                </a:lnTo>
                <a:lnTo>
                  <a:pt x="165375" y="39682"/>
                </a:lnTo>
                <a:lnTo>
                  <a:pt x="165375" y="39682"/>
                </a:lnTo>
                <a:lnTo>
                  <a:pt x="165477" y="39886"/>
                </a:lnTo>
                <a:lnTo>
                  <a:pt x="166295" y="38659"/>
                </a:lnTo>
                <a:lnTo>
                  <a:pt x="163227" y="35693"/>
                </a:lnTo>
                <a:lnTo>
                  <a:pt x="163227" y="35080"/>
                </a:lnTo>
                <a:lnTo>
                  <a:pt x="163125" y="35386"/>
                </a:lnTo>
                <a:lnTo>
                  <a:pt x="162307" y="34261"/>
                </a:lnTo>
                <a:lnTo>
                  <a:pt x="162409" y="34057"/>
                </a:lnTo>
                <a:lnTo>
                  <a:pt x="162511" y="34057"/>
                </a:lnTo>
                <a:lnTo>
                  <a:pt x="162614" y="33136"/>
                </a:lnTo>
                <a:lnTo>
                  <a:pt x="162818" y="33239"/>
                </a:lnTo>
                <a:lnTo>
                  <a:pt x="163636" y="32932"/>
                </a:lnTo>
                <a:lnTo>
                  <a:pt x="163534" y="32727"/>
                </a:lnTo>
                <a:lnTo>
                  <a:pt x="163943" y="32523"/>
                </a:lnTo>
                <a:lnTo>
                  <a:pt x="164045" y="32420"/>
                </a:lnTo>
                <a:lnTo>
                  <a:pt x="163943" y="32318"/>
                </a:lnTo>
                <a:lnTo>
                  <a:pt x="165580" y="31807"/>
                </a:lnTo>
                <a:close/>
                <a:moveTo>
                  <a:pt x="137352" y="40602"/>
                </a:moveTo>
                <a:lnTo>
                  <a:pt x="135511" y="40807"/>
                </a:lnTo>
                <a:lnTo>
                  <a:pt x="134898" y="40705"/>
                </a:lnTo>
                <a:lnTo>
                  <a:pt x="137045" y="42239"/>
                </a:lnTo>
                <a:lnTo>
                  <a:pt x="137148" y="41932"/>
                </a:lnTo>
                <a:lnTo>
                  <a:pt x="137045" y="41625"/>
                </a:lnTo>
                <a:lnTo>
                  <a:pt x="137352" y="40602"/>
                </a:lnTo>
                <a:close/>
                <a:moveTo>
                  <a:pt x="146659" y="43670"/>
                </a:moveTo>
                <a:lnTo>
                  <a:pt x="146148" y="43875"/>
                </a:lnTo>
                <a:lnTo>
                  <a:pt x="146250" y="43875"/>
                </a:lnTo>
                <a:lnTo>
                  <a:pt x="146659" y="43670"/>
                </a:lnTo>
                <a:close/>
                <a:moveTo>
                  <a:pt x="144409" y="43364"/>
                </a:moveTo>
                <a:lnTo>
                  <a:pt x="144307" y="43466"/>
                </a:lnTo>
                <a:lnTo>
                  <a:pt x="144307" y="43773"/>
                </a:lnTo>
                <a:lnTo>
                  <a:pt x="145330" y="44080"/>
                </a:lnTo>
                <a:lnTo>
                  <a:pt x="146148" y="43875"/>
                </a:lnTo>
                <a:lnTo>
                  <a:pt x="146045" y="43670"/>
                </a:lnTo>
                <a:lnTo>
                  <a:pt x="144716" y="43568"/>
                </a:lnTo>
                <a:lnTo>
                  <a:pt x="144818" y="43466"/>
                </a:lnTo>
                <a:lnTo>
                  <a:pt x="144409" y="43364"/>
                </a:lnTo>
                <a:close/>
                <a:moveTo>
                  <a:pt x="153614" y="43364"/>
                </a:moveTo>
                <a:lnTo>
                  <a:pt x="151773" y="43977"/>
                </a:lnTo>
                <a:lnTo>
                  <a:pt x="152489" y="44489"/>
                </a:lnTo>
                <a:lnTo>
                  <a:pt x="153307" y="44080"/>
                </a:lnTo>
                <a:lnTo>
                  <a:pt x="153614" y="43466"/>
                </a:lnTo>
                <a:lnTo>
                  <a:pt x="153614" y="43364"/>
                </a:lnTo>
                <a:close/>
                <a:moveTo>
                  <a:pt x="241568" y="37534"/>
                </a:moveTo>
                <a:lnTo>
                  <a:pt x="241261" y="37636"/>
                </a:lnTo>
                <a:lnTo>
                  <a:pt x="241670" y="37739"/>
                </a:lnTo>
                <a:lnTo>
                  <a:pt x="241466" y="38045"/>
                </a:lnTo>
                <a:lnTo>
                  <a:pt x="240955" y="37636"/>
                </a:lnTo>
                <a:lnTo>
                  <a:pt x="241057" y="37943"/>
                </a:lnTo>
                <a:lnTo>
                  <a:pt x="240955" y="38148"/>
                </a:lnTo>
                <a:lnTo>
                  <a:pt x="241261" y="38864"/>
                </a:lnTo>
                <a:lnTo>
                  <a:pt x="241159" y="38864"/>
                </a:lnTo>
                <a:lnTo>
                  <a:pt x="241875" y="40807"/>
                </a:lnTo>
                <a:lnTo>
                  <a:pt x="241670" y="41114"/>
                </a:lnTo>
                <a:lnTo>
                  <a:pt x="241466" y="41727"/>
                </a:lnTo>
                <a:lnTo>
                  <a:pt x="240955" y="42136"/>
                </a:lnTo>
                <a:lnTo>
                  <a:pt x="240443" y="41932"/>
                </a:lnTo>
                <a:lnTo>
                  <a:pt x="240545" y="41420"/>
                </a:lnTo>
                <a:lnTo>
                  <a:pt x="240545" y="41420"/>
                </a:lnTo>
                <a:lnTo>
                  <a:pt x="240136" y="41727"/>
                </a:lnTo>
                <a:lnTo>
                  <a:pt x="240341" y="43261"/>
                </a:lnTo>
                <a:lnTo>
                  <a:pt x="239727" y="43466"/>
                </a:lnTo>
                <a:lnTo>
                  <a:pt x="239420" y="43364"/>
                </a:lnTo>
                <a:lnTo>
                  <a:pt x="237477" y="43977"/>
                </a:lnTo>
                <a:lnTo>
                  <a:pt x="236761" y="45102"/>
                </a:lnTo>
                <a:lnTo>
                  <a:pt x="237886" y="45205"/>
                </a:lnTo>
                <a:lnTo>
                  <a:pt x="237784" y="44795"/>
                </a:lnTo>
                <a:lnTo>
                  <a:pt x="240341" y="44489"/>
                </a:lnTo>
                <a:lnTo>
                  <a:pt x="240239" y="44795"/>
                </a:lnTo>
                <a:lnTo>
                  <a:pt x="240955" y="45614"/>
                </a:lnTo>
                <a:lnTo>
                  <a:pt x="241670" y="44795"/>
                </a:lnTo>
                <a:lnTo>
                  <a:pt x="241261" y="44080"/>
                </a:lnTo>
                <a:lnTo>
                  <a:pt x="241568" y="44386"/>
                </a:lnTo>
                <a:lnTo>
                  <a:pt x="241568" y="44182"/>
                </a:lnTo>
                <a:lnTo>
                  <a:pt x="241670" y="44489"/>
                </a:lnTo>
                <a:lnTo>
                  <a:pt x="242693" y="44489"/>
                </a:lnTo>
                <a:lnTo>
                  <a:pt x="243102" y="43977"/>
                </a:lnTo>
                <a:lnTo>
                  <a:pt x="243307" y="43977"/>
                </a:lnTo>
                <a:lnTo>
                  <a:pt x="243409" y="43773"/>
                </a:lnTo>
                <a:lnTo>
                  <a:pt x="243614" y="43773"/>
                </a:lnTo>
                <a:lnTo>
                  <a:pt x="243511" y="43364"/>
                </a:lnTo>
                <a:lnTo>
                  <a:pt x="243818" y="43466"/>
                </a:lnTo>
                <a:lnTo>
                  <a:pt x="243818" y="43773"/>
                </a:lnTo>
                <a:lnTo>
                  <a:pt x="244023" y="44182"/>
                </a:lnTo>
                <a:lnTo>
                  <a:pt x="244432" y="43261"/>
                </a:lnTo>
                <a:lnTo>
                  <a:pt x="244023" y="42852"/>
                </a:lnTo>
                <a:lnTo>
                  <a:pt x="243205" y="40602"/>
                </a:lnTo>
                <a:lnTo>
                  <a:pt x="243511" y="40500"/>
                </a:lnTo>
                <a:lnTo>
                  <a:pt x="243409" y="39886"/>
                </a:lnTo>
                <a:lnTo>
                  <a:pt x="243409" y="39784"/>
                </a:lnTo>
                <a:lnTo>
                  <a:pt x="241568" y="37534"/>
                </a:lnTo>
                <a:close/>
                <a:moveTo>
                  <a:pt x="238909" y="44795"/>
                </a:moveTo>
                <a:lnTo>
                  <a:pt x="238807" y="45102"/>
                </a:lnTo>
                <a:lnTo>
                  <a:pt x="238398" y="45000"/>
                </a:lnTo>
                <a:lnTo>
                  <a:pt x="238295" y="45307"/>
                </a:lnTo>
                <a:lnTo>
                  <a:pt x="237989" y="45716"/>
                </a:lnTo>
                <a:lnTo>
                  <a:pt x="238398" y="45920"/>
                </a:lnTo>
                <a:lnTo>
                  <a:pt x="238705" y="46330"/>
                </a:lnTo>
                <a:lnTo>
                  <a:pt x="239523" y="45614"/>
                </a:lnTo>
                <a:lnTo>
                  <a:pt x="239830" y="45818"/>
                </a:lnTo>
                <a:lnTo>
                  <a:pt x="240034" y="45307"/>
                </a:lnTo>
                <a:lnTo>
                  <a:pt x="239625" y="44795"/>
                </a:lnTo>
                <a:close/>
                <a:moveTo>
                  <a:pt x="151875" y="47659"/>
                </a:moveTo>
                <a:lnTo>
                  <a:pt x="151773" y="47761"/>
                </a:lnTo>
                <a:lnTo>
                  <a:pt x="152080" y="47864"/>
                </a:lnTo>
                <a:lnTo>
                  <a:pt x="151875" y="47659"/>
                </a:lnTo>
                <a:close/>
                <a:moveTo>
                  <a:pt x="236455" y="45307"/>
                </a:moveTo>
                <a:lnTo>
                  <a:pt x="236045" y="45614"/>
                </a:lnTo>
                <a:lnTo>
                  <a:pt x="236045" y="45818"/>
                </a:lnTo>
                <a:lnTo>
                  <a:pt x="235943" y="45716"/>
                </a:lnTo>
                <a:lnTo>
                  <a:pt x="236352" y="46227"/>
                </a:lnTo>
                <a:lnTo>
                  <a:pt x="236045" y="46023"/>
                </a:lnTo>
                <a:lnTo>
                  <a:pt x="236352" y="46534"/>
                </a:lnTo>
                <a:lnTo>
                  <a:pt x="236659" y="46227"/>
                </a:lnTo>
                <a:lnTo>
                  <a:pt x="236455" y="46023"/>
                </a:lnTo>
                <a:lnTo>
                  <a:pt x="236659" y="46125"/>
                </a:lnTo>
                <a:lnTo>
                  <a:pt x="236966" y="46534"/>
                </a:lnTo>
                <a:lnTo>
                  <a:pt x="237068" y="47761"/>
                </a:lnTo>
                <a:lnTo>
                  <a:pt x="237580" y="47966"/>
                </a:lnTo>
                <a:lnTo>
                  <a:pt x="237580" y="47455"/>
                </a:lnTo>
                <a:lnTo>
                  <a:pt x="237784" y="48170"/>
                </a:lnTo>
                <a:lnTo>
                  <a:pt x="237886" y="47966"/>
                </a:lnTo>
                <a:lnTo>
                  <a:pt x="237886" y="47761"/>
                </a:lnTo>
                <a:lnTo>
                  <a:pt x="238193" y="47761"/>
                </a:lnTo>
                <a:lnTo>
                  <a:pt x="237886" y="45818"/>
                </a:lnTo>
                <a:lnTo>
                  <a:pt x="237580" y="45818"/>
                </a:lnTo>
                <a:lnTo>
                  <a:pt x="237477" y="45409"/>
                </a:lnTo>
                <a:lnTo>
                  <a:pt x="237273" y="45511"/>
                </a:lnTo>
                <a:lnTo>
                  <a:pt x="236864" y="45307"/>
                </a:lnTo>
                <a:close/>
                <a:moveTo>
                  <a:pt x="49602" y="49398"/>
                </a:moveTo>
                <a:lnTo>
                  <a:pt x="49705" y="49500"/>
                </a:lnTo>
                <a:lnTo>
                  <a:pt x="49655" y="49401"/>
                </a:lnTo>
                <a:lnTo>
                  <a:pt x="49655" y="49401"/>
                </a:lnTo>
                <a:lnTo>
                  <a:pt x="49602" y="49398"/>
                </a:lnTo>
                <a:close/>
                <a:moveTo>
                  <a:pt x="53489" y="53386"/>
                </a:moveTo>
                <a:lnTo>
                  <a:pt x="53485" y="53390"/>
                </a:lnTo>
                <a:lnTo>
                  <a:pt x="53485" y="53390"/>
                </a:lnTo>
                <a:lnTo>
                  <a:pt x="53489" y="53489"/>
                </a:lnTo>
                <a:lnTo>
                  <a:pt x="53489" y="53386"/>
                </a:lnTo>
                <a:close/>
                <a:moveTo>
                  <a:pt x="231648" y="54102"/>
                </a:moveTo>
                <a:lnTo>
                  <a:pt x="231239" y="54205"/>
                </a:lnTo>
                <a:lnTo>
                  <a:pt x="230625" y="55739"/>
                </a:lnTo>
                <a:lnTo>
                  <a:pt x="231648" y="57477"/>
                </a:lnTo>
                <a:lnTo>
                  <a:pt x="231852" y="54511"/>
                </a:lnTo>
                <a:lnTo>
                  <a:pt x="231648" y="54102"/>
                </a:lnTo>
                <a:close/>
                <a:moveTo>
                  <a:pt x="46432" y="57886"/>
                </a:moveTo>
                <a:lnTo>
                  <a:pt x="46432" y="57989"/>
                </a:lnTo>
                <a:lnTo>
                  <a:pt x="46636" y="57886"/>
                </a:lnTo>
                <a:close/>
                <a:moveTo>
                  <a:pt x="176216" y="59114"/>
                </a:moveTo>
                <a:lnTo>
                  <a:pt x="176216" y="59114"/>
                </a:lnTo>
                <a:lnTo>
                  <a:pt x="176216" y="59114"/>
                </a:lnTo>
                <a:close/>
                <a:moveTo>
                  <a:pt x="52057" y="56250"/>
                </a:moveTo>
                <a:lnTo>
                  <a:pt x="49193" y="57170"/>
                </a:lnTo>
                <a:lnTo>
                  <a:pt x="49091" y="57375"/>
                </a:lnTo>
                <a:lnTo>
                  <a:pt x="48682" y="57580"/>
                </a:lnTo>
                <a:lnTo>
                  <a:pt x="48989" y="57477"/>
                </a:lnTo>
                <a:lnTo>
                  <a:pt x="48989" y="57682"/>
                </a:lnTo>
                <a:lnTo>
                  <a:pt x="51443" y="56761"/>
                </a:lnTo>
                <a:lnTo>
                  <a:pt x="51443" y="56761"/>
                </a:lnTo>
                <a:lnTo>
                  <a:pt x="51239" y="56966"/>
                </a:lnTo>
                <a:lnTo>
                  <a:pt x="54205" y="57886"/>
                </a:lnTo>
                <a:lnTo>
                  <a:pt x="54307" y="58500"/>
                </a:lnTo>
                <a:lnTo>
                  <a:pt x="55330" y="58807"/>
                </a:lnTo>
                <a:lnTo>
                  <a:pt x="54818" y="59625"/>
                </a:lnTo>
                <a:lnTo>
                  <a:pt x="54818" y="59625"/>
                </a:lnTo>
                <a:lnTo>
                  <a:pt x="57068" y="59420"/>
                </a:lnTo>
                <a:lnTo>
                  <a:pt x="57170" y="59523"/>
                </a:lnTo>
                <a:lnTo>
                  <a:pt x="57886" y="59420"/>
                </a:lnTo>
                <a:lnTo>
                  <a:pt x="57886" y="59114"/>
                </a:lnTo>
                <a:lnTo>
                  <a:pt x="55739" y="58091"/>
                </a:lnTo>
                <a:lnTo>
                  <a:pt x="55534" y="57886"/>
                </a:lnTo>
                <a:lnTo>
                  <a:pt x="55330" y="57784"/>
                </a:lnTo>
                <a:lnTo>
                  <a:pt x="55534" y="57784"/>
                </a:lnTo>
                <a:lnTo>
                  <a:pt x="55125" y="57580"/>
                </a:lnTo>
                <a:lnTo>
                  <a:pt x="55227" y="57682"/>
                </a:lnTo>
                <a:lnTo>
                  <a:pt x="52057" y="56250"/>
                </a:lnTo>
                <a:close/>
                <a:moveTo>
                  <a:pt x="207307" y="59625"/>
                </a:moveTo>
                <a:lnTo>
                  <a:pt x="207307" y="59625"/>
                </a:lnTo>
                <a:lnTo>
                  <a:pt x="207307" y="59625"/>
                </a:lnTo>
                <a:close/>
                <a:moveTo>
                  <a:pt x="222648" y="59420"/>
                </a:moveTo>
                <a:lnTo>
                  <a:pt x="222648" y="59523"/>
                </a:lnTo>
                <a:lnTo>
                  <a:pt x="221625" y="59727"/>
                </a:lnTo>
                <a:lnTo>
                  <a:pt x="221727" y="59727"/>
                </a:lnTo>
                <a:lnTo>
                  <a:pt x="221216" y="60341"/>
                </a:lnTo>
                <a:lnTo>
                  <a:pt x="221727" y="61159"/>
                </a:lnTo>
                <a:lnTo>
                  <a:pt x="222750" y="60852"/>
                </a:lnTo>
                <a:lnTo>
                  <a:pt x="223159" y="59932"/>
                </a:lnTo>
                <a:lnTo>
                  <a:pt x="222648" y="59420"/>
                </a:lnTo>
                <a:close/>
                <a:moveTo>
                  <a:pt x="54511" y="60955"/>
                </a:moveTo>
                <a:lnTo>
                  <a:pt x="54205" y="61057"/>
                </a:lnTo>
                <a:lnTo>
                  <a:pt x="54614" y="61670"/>
                </a:lnTo>
                <a:lnTo>
                  <a:pt x="55023" y="61773"/>
                </a:lnTo>
                <a:lnTo>
                  <a:pt x="55534" y="61568"/>
                </a:lnTo>
                <a:lnTo>
                  <a:pt x="55943" y="61568"/>
                </a:lnTo>
                <a:lnTo>
                  <a:pt x="54511" y="60955"/>
                </a:lnTo>
                <a:close/>
                <a:moveTo>
                  <a:pt x="58602" y="59727"/>
                </a:moveTo>
                <a:lnTo>
                  <a:pt x="59114" y="60034"/>
                </a:lnTo>
                <a:lnTo>
                  <a:pt x="59114" y="60443"/>
                </a:lnTo>
                <a:lnTo>
                  <a:pt x="59420" y="60955"/>
                </a:lnTo>
                <a:lnTo>
                  <a:pt x="59114" y="61057"/>
                </a:lnTo>
                <a:lnTo>
                  <a:pt x="57784" y="60852"/>
                </a:lnTo>
                <a:lnTo>
                  <a:pt x="57580" y="61159"/>
                </a:lnTo>
                <a:lnTo>
                  <a:pt x="57989" y="61466"/>
                </a:lnTo>
                <a:lnTo>
                  <a:pt x="59420" y="61261"/>
                </a:lnTo>
                <a:lnTo>
                  <a:pt x="59932" y="61568"/>
                </a:lnTo>
                <a:lnTo>
                  <a:pt x="60239" y="61875"/>
                </a:lnTo>
                <a:lnTo>
                  <a:pt x="60545" y="61261"/>
                </a:lnTo>
                <a:lnTo>
                  <a:pt x="62693" y="61261"/>
                </a:lnTo>
                <a:lnTo>
                  <a:pt x="63000" y="60750"/>
                </a:lnTo>
                <a:lnTo>
                  <a:pt x="61977" y="60341"/>
                </a:lnTo>
                <a:lnTo>
                  <a:pt x="62284" y="60239"/>
                </a:lnTo>
                <a:lnTo>
                  <a:pt x="58602" y="59727"/>
                </a:lnTo>
                <a:close/>
                <a:moveTo>
                  <a:pt x="208739" y="63614"/>
                </a:moveTo>
                <a:lnTo>
                  <a:pt x="208739" y="63614"/>
                </a:lnTo>
                <a:lnTo>
                  <a:pt x="208739" y="63614"/>
                </a:lnTo>
                <a:close/>
                <a:moveTo>
                  <a:pt x="48989" y="64227"/>
                </a:moveTo>
                <a:lnTo>
                  <a:pt x="48989" y="64330"/>
                </a:lnTo>
                <a:lnTo>
                  <a:pt x="49091" y="64432"/>
                </a:lnTo>
                <a:lnTo>
                  <a:pt x="49091" y="64432"/>
                </a:lnTo>
                <a:lnTo>
                  <a:pt x="48989" y="64227"/>
                </a:lnTo>
                <a:close/>
                <a:moveTo>
                  <a:pt x="44182" y="66375"/>
                </a:moveTo>
                <a:lnTo>
                  <a:pt x="44386" y="66477"/>
                </a:lnTo>
                <a:lnTo>
                  <a:pt x="44386" y="66477"/>
                </a:lnTo>
                <a:lnTo>
                  <a:pt x="44284" y="66375"/>
                </a:lnTo>
                <a:close/>
                <a:moveTo>
                  <a:pt x="232261" y="60955"/>
                </a:moveTo>
                <a:lnTo>
                  <a:pt x="231955" y="61670"/>
                </a:lnTo>
                <a:lnTo>
                  <a:pt x="232159" y="63511"/>
                </a:lnTo>
                <a:lnTo>
                  <a:pt x="231648" y="63307"/>
                </a:lnTo>
                <a:lnTo>
                  <a:pt x="232364" y="64943"/>
                </a:lnTo>
                <a:lnTo>
                  <a:pt x="232568" y="64739"/>
                </a:lnTo>
                <a:lnTo>
                  <a:pt x="232977" y="65148"/>
                </a:lnTo>
                <a:lnTo>
                  <a:pt x="232773" y="65864"/>
                </a:lnTo>
                <a:lnTo>
                  <a:pt x="233591" y="65966"/>
                </a:lnTo>
                <a:lnTo>
                  <a:pt x="233795" y="65659"/>
                </a:lnTo>
                <a:lnTo>
                  <a:pt x="234716" y="66375"/>
                </a:lnTo>
                <a:lnTo>
                  <a:pt x="234409" y="65761"/>
                </a:lnTo>
                <a:lnTo>
                  <a:pt x="236045" y="67091"/>
                </a:lnTo>
                <a:lnTo>
                  <a:pt x="235432" y="65966"/>
                </a:lnTo>
                <a:lnTo>
                  <a:pt x="235739" y="65864"/>
                </a:lnTo>
                <a:lnTo>
                  <a:pt x="235125" y="65659"/>
                </a:lnTo>
                <a:lnTo>
                  <a:pt x="235125" y="65864"/>
                </a:lnTo>
                <a:lnTo>
                  <a:pt x="234511" y="65352"/>
                </a:lnTo>
                <a:lnTo>
                  <a:pt x="234205" y="65455"/>
                </a:lnTo>
                <a:lnTo>
                  <a:pt x="234307" y="65659"/>
                </a:lnTo>
                <a:lnTo>
                  <a:pt x="233284" y="64330"/>
                </a:lnTo>
                <a:lnTo>
                  <a:pt x="233489" y="63511"/>
                </a:lnTo>
                <a:lnTo>
                  <a:pt x="233795" y="63205"/>
                </a:lnTo>
                <a:lnTo>
                  <a:pt x="233591" y="61159"/>
                </a:lnTo>
                <a:lnTo>
                  <a:pt x="233284" y="61261"/>
                </a:lnTo>
                <a:lnTo>
                  <a:pt x="232261" y="60955"/>
                </a:lnTo>
                <a:close/>
                <a:moveTo>
                  <a:pt x="236045" y="67091"/>
                </a:moveTo>
                <a:lnTo>
                  <a:pt x="236045" y="67091"/>
                </a:lnTo>
                <a:lnTo>
                  <a:pt x="236045" y="67091"/>
                </a:lnTo>
                <a:close/>
                <a:moveTo>
                  <a:pt x="232670" y="66170"/>
                </a:moveTo>
                <a:lnTo>
                  <a:pt x="233693" y="67398"/>
                </a:lnTo>
                <a:lnTo>
                  <a:pt x="233693" y="66580"/>
                </a:lnTo>
                <a:lnTo>
                  <a:pt x="233080" y="66170"/>
                </a:lnTo>
                <a:close/>
                <a:moveTo>
                  <a:pt x="222750" y="67705"/>
                </a:moveTo>
                <a:lnTo>
                  <a:pt x="222750" y="67705"/>
                </a:lnTo>
                <a:lnTo>
                  <a:pt x="222750" y="67705"/>
                </a:lnTo>
                <a:close/>
                <a:moveTo>
                  <a:pt x="222750" y="67705"/>
                </a:moveTo>
                <a:lnTo>
                  <a:pt x="222737" y="67743"/>
                </a:lnTo>
                <a:lnTo>
                  <a:pt x="222750" y="67807"/>
                </a:lnTo>
                <a:lnTo>
                  <a:pt x="222750" y="67705"/>
                </a:lnTo>
                <a:close/>
                <a:moveTo>
                  <a:pt x="235330" y="67091"/>
                </a:moveTo>
                <a:lnTo>
                  <a:pt x="235330" y="67807"/>
                </a:lnTo>
                <a:lnTo>
                  <a:pt x="235739" y="67602"/>
                </a:lnTo>
                <a:lnTo>
                  <a:pt x="236148" y="67909"/>
                </a:lnTo>
                <a:lnTo>
                  <a:pt x="235534" y="67193"/>
                </a:lnTo>
                <a:lnTo>
                  <a:pt x="235330" y="67091"/>
                </a:lnTo>
                <a:close/>
                <a:moveTo>
                  <a:pt x="236250" y="67091"/>
                </a:moveTo>
                <a:lnTo>
                  <a:pt x="237068" y="68420"/>
                </a:lnTo>
                <a:lnTo>
                  <a:pt x="237682" y="68625"/>
                </a:lnTo>
                <a:lnTo>
                  <a:pt x="237784" y="68625"/>
                </a:lnTo>
                <a:lnTo>
                  <a:pt x="237170" y="67295"/>
                </a:lnTo>
                <a:lnTo>
                  <a:pt x="236250" y="67091"/>
                </a:lnTo>
                <a:close/>
                <a:moveTo>
                  <a:pt x="234307" y="67807"/>
                </a:moveTo>
                <a:lnTo>
                  <a:pt x="234205" y="67909"/>
                </a:lnTo>
                <a:lnTo>
                  <a:pt x="234409" y="68011"/>
                </a:lnTo>
                <a:lnTo>
                  <a:pt x="234409" y="69341"/>
                </a:lnTo>
                <a:lnTo>
                  <a:pt x="235330" y="68420"/>
                </a:lnTo>
                <a:lnTo>
                  <a:pt x="234307" y="67807"/>
                </a:lnTo>
                <a:close/>
                <a:moveTo>
                  <a:pt x="236455" y="68216"/>
                </a:moveTo>
                <a:lnTo>
                  <a:pt x="236557" y="68625"/>
                </a:lnTo>
                <a:lnTo>
                  <a:pt x="236864" y="68932"/>
                </a:lnTo>
                <a:lnTo>
                  <a:pt x="237170" y="69750"/>
                </a:lnTo>
                <a:lnTo>
                  <a:pt x="237170" y="69341"/>
                </a:lnTo>
                <a:lnTo>
                  <a:pt x="237273" y="69545"/>
                </a:lnTo>
                <a:lnTo>
                  <a:pt x="237273" y="69443"/>
                </a:lnTo>
                <a:lnTo>
                  <a:pt x="237273" y="69136"/>
                </a:lnTo>
                <a:lnTo>
                  <a:pt x="237170" y="68932"/>
                </a:lnTo>
                <a:lnTo>
                  <a:pt x="236966" y="68318"/>
                </a:lnTo>
                <a:lnTo>
                  <a:pt x="236761" y="68420"/>
                </a:lnTo>
                <a:lnTo>
                  <a:pt x="236455" y="68216"/>
                </a:lnTo>
                <a:close/>
                <a:moveTo>
                  <a:pt x="193091" y="69852"/>
                </a:moveTo>
                <a:lnTo>
                  <a:pt x="193295" y="70261"/>
                </a:lnTo>
                <a:lnTo>
                  <a:pt x="193160" y="69965"/>
                </a:lnTo>
                <a:lnTo>
                  <a:pt x="193091" y="69852"/>
                </a:lnTo>
                <a:close/>
                <a:moveTo>
                  <a:pt x="235636" y="68830"/>
                </a:moveTo>
                <a:lnTo>
                  <a:pt x="235227" y="69034"/>
                </a:lnTo>
                <a:lnTo>
                  <a:pt x="235125" y="69239"/>
                </a:lnTo>
                <a:lnTo>
                  <a:pt x="235227" y="69648"/>
                </a:lnTo>
                <a:lnTo>
                  <a:pt x="234818" y="69955"/>
                </a:lnTo>
                <a:lnTo>
                  <a:pt x="235636" y="70670"/>
                </a:lnTo>
                <a:lnTo>
                  <a:pt x="235636" y="68830"/>
                </a:lnTo>
                <a:close/>
                <a:moveTo>
                  <a:pt x="232057" y="68420"/>
                </a:moveTo>
                <a:lnTo>
                  <a:pt x="230318" y="71284"/>
                </a:lnTo>
                <a:lnTo>
                  <a:pt x="230318" y="71386"/>
                </a:lnTo>
                <a:lnTo>
                  <a:pt x="232261" y="69341"/>
                </a:lnTo>
                <a:lnTo>
                  <a:pt x="232057" y="68420"/>
                </a:lnTo>
                <a:close/>
                <a:moveTo>
                  <a:pt x="196568" y="70159"/>
                </a:moveTo>
                <a:lnTo>
                  <a:pt x="196364" y="71795"/>
                </a:lnTo>
                <a:lnTo>
                  <a:pt x="196364" y="72000"/>
                </a:lnTo>
                <a:lnTo>
                  <a:pt x="197591" y="73739"/>
                </a:lnTo>
                <a:lnTo>
                  <a:pt x="198102" y="72102"/>
                </a:lnTo>
                <a:lnTo>
                  <a:pt x="196875" y="70261"/>
                </a:lnTo>
                <a:lnTo>
                  <a:pt x="196568" y="70159"/>
                </a:lnTo>
                <a:close/>
                <a:moveTo>
                  <a:pt x="237580" y="70261"/>
                </a:moveTo>
                <a:lnTo>
                  <a:pt x="237580" y="70773"/>
                </a:lnTo>
                <a:lnTo>
                  <a:pt x="237068" y="70977"/>
                </a:lnTo>
                <a:lnTo>
                  <a:pt x="237068" y="71182"/>
                </a:lnTo>
                <a:lnTo>
                  <a:pt x="236761" y="71182"/>
                </a:lnTo>
                <a:lnTo>
                  <a:pt x="236659" y="71591"/>
                </a:lnTo>
                <a:lnTo>
                  <a:pt x="236250" y="71795"/>
                </a:lnTo>
                <a:lnTo>
                  <a:pt x="236148" y="71182"/>
                </a:lnTo>
                <a:lnTo>
                  <a:pt x="235739" y="71284"/>
                </a:lnTo>
                <a:lnTo>
                  <a:pt x="235432" y="71693"/>
                </a:lnTo>
                <a:lnTo>
                  <a:pt x="234818" y="71898"/>
                </a:lnTo>
                <a:lnTo>
                  <a:pt x="234818" y="72818"/>
                </a:lnTo>
                <a:lnTo>
                  <a:pt x="235227" y="72000"/>
                </a:lnTo>
                <a:lnTo>
                  <a:pt x="235636" y="72102"/>
                </a:lnTo>
                <a:lnTo>
                  <a:pt x="235943" y="72409"/>
                </a:lnTo>
                <a:lnTo>
                  <a:pt x="236045" y="72000"/>
                </a:lnTo>
                <a:lnTo>
                  <a:pt x="236455" y="72205"/>
                </a:lnTo>
                <a:lnTo>
                  <a:pt x="236557" y="73125"/>
                </a:lnTo>
                <a:lnTo>
                  <a:pt x="237580" y="73943"/>
                </a:lnTo>
                <a:lnTo>
                  <a:pt x="237682" y="73841"/>
                </a:lnTo>
                <a:lnTo>
                  <a:pt x="237682" y="74045"/>
                </a:lnTo>
                <a:lnTo>
                  <a:pt x="238091" y="73841"/>
                </a:lnTo>
                <a:lnTo>
                  <a:pt x="237784" y="73227"/>
                </a:lnTo>
                <a:lnTo>
                  <a:pt x="237989" y="72614"/>
                </a:lnTo>
                <a:lnTo>
                  <a:pt x="238295" y="72818"/>
                </a:lnTo>
                <a:lnTo>
                  <a:pt x="238500" y="73534"/>
                </a:lnTo>
                <a:lnTo>
                  <a:pt x="238500" y="73023"/>
                </a:lnTo>
                <a:lnTo>
                  <a:pt x="238807" y="72614"/>
                </a:lnTo>
                <a:lnTo>
                  <a:pt x="238500" y="71284"/>
                </a:lnTo>
                <a:lnTo>
                  <a:pt x="238398" y="71182"/>
                </a:lnTo>
                <a:lnTo>
                  <a:pt x="238500" y="70977"/>
                </a:lnTo>
                <a:lnTo>
                  <a:pt x="238295" y="70466"/>
                </a:lnTo>
                <a:lnTo>
                  <a:pt x="237580" y="70261"/>
                </a:lnTo>
                <a:close/>
                <a:moveTo>
                  <a:pt x="240443" y="77727"/>
                </a:moveTo>
                <a:lnTo>
                  <a:pt x="240034" y="78545"/>
                </a:lnTo>
                <a:lnTo>
                  <a:pt x="240136" y="80284"/>
                </a:lnTo>
                <a:lnTo>
                  <a:pt x="240852" y="81000"/>
                </a:lnTo>
                <a:lnTo>
                  <a:pt x="240341" y="79568"/>
                </a:lnTo>
                <a:lnTo>
                  <a:pt x="241261" y="79773"/>
                </a:lnTo>
                <a:lnTo>
                  <a:pt x="240750" y="79057"/>
                </a:lnTo>
                <a:lnTo>
                  <a:pt x="241057" y="78852"/>
                </a:lnTo>
                <a:lnTo>
                  <a:pt x="241057" y="78545"/>
                </a:lnTo>
                <a:lnTo>
                  <a:pt x="240136" y="78955"/>
                </a:lnTo>
                <a:lnTo>
                  <a:pt x="240443" y="78648"/>
                </a:lnTo>
                <a:lnTo>
                  <a:pt x="240443" y="78341"/>
                </a:lnTo>
                <a:lnTo>
                  <a:pt x="240341" y="78136"/>
                </a:lnTo>
                <a:lnTo>
                  <a:pt x="240443" y="77727"/>
                </a:lnTo>
                <a:close/>
                <a:moveTo>
                  <a:pt x="79875" y="80284"/>
                </a:moveTo>
                <a:lnTo>
                  <a:pt x="78136" y="80591"/>
                </a:lnTo>
                <a:lnTo>
                  <a:pt x="78136" y="81511"/>
                </a:lnTo>
                <a:lnTo>
                  <a:pt x="78443" y="81818"/>
                </a:lnTo>
                <a:lnTo>
                  <a:pt x="79466" y="81511"/>
                </a:lnTo>
                <a:lnTo>
                  <a:pt x="80080" y="80693"/>
                </a:lnTo>
                <a:lnTo>
                  <a:pt x="79875" y="80284"/>
                </a:lnTo>
                <a:close/>
                <a:moveTo>
                  <a:pt x="261102" y="82636"/>
                </a:moveTo>
                <a:lnTo>
                  <a:pt x="261000" y="82841"/>
                </a:lnTo>
                <a:lnTo>
                  <a:pt x="261205" y="82943"/>
                </a:lnTo>
                <a:lnTo>
                  <a:pt x="261307" y="82943"/>
                </a:lnTo>
                <a:lnTo>
                  <a:pt x="261102" y="82636"/>
                </a:lnTo>
                <a:close/>
                <a:moveTo>
                  <a:pt x="220500" y="81818"/>
                </a:moveTo>
                <a:lnTo>
                  <a:pt x="219784" y="81920"/>
                </a:lnTo>
                <a:lnTo>
                  <a:pt x="219886" y="82227"/>
                </a:lnTo>
                <a:lnTo>
                  <a:pt x="220295" y="82534"/>
                </a:lnTo>
                <a:lnTo>
                  <a:pt x="220295" y="82841"/>
                </a:lnTo>
                <a:lnTo>
                  <a:pt x="221011" y="83148"/>
                </a:lnTo>
                <a:lnTo>
                  <a:pt x="221114" y="82636"/>
                </a:lnTo>
                <a:lnTo>
                  <a:pt x="220500" y="81818"/>
                </a:lnTo>
                <a:close/>
                <a:moveTo>
                  <a:pt x="222034" y="82636"/>
                </a:moveTo>
                <a:lnTo>
                  <a:pt x="221830" y="83045"/>
                </a:lnTo>
                <a:lnTo>
                  <a:pt x="221830" y="83352"/>
                </a:lnTo>
                <a:lnTo>
                  <a:pt x="222341" y="83148"/>
                </a:lnTo>
                <a:lnTo>
                  <a:pt x="222034" y="82636"/>
                </a:lnTo>
                <a:close/>
                <a:moveTo>
                  <a:pt x="240443" y="83352"/>
                </a:moveTo>
                <a:lnTo>
                  <a:pt x="240239" y="83659"/>
                </a:lnTo>
                <a:lnTo>
                  <a:pt x="240239" y="83659"/>
                </a:lnTo>
                <a:lnTo>
                  <a:pt x="240545" y="83352"/>
                </a:lnTo>
                <a:close/>
                <a:moveTo>
                  <a:pt x="240852" y="82943"/>
                </a:moveTo>
                <a:lnTo>
                  <a:pt x="240545" y="83352"/>
                </a:lnTo>
                <a:lnTo>
                  <a:pt x="240750" y="83557"/>
                </a:lnTo>
                <a:lnTo>
                  <a:pt x="241261" y="83455"/>
                </a:lnTo>
                <a:lnTo>
                  <a:pt x="241670" y="83557"/>
                </a:lnTo>
                <a:lnTo>
                  <a:pt x="241977" y="83455"/>
                </a:lnTo>
                <a:lnTo>
                  <a:pt x="242898" y="83966"/>
                </a:lnTo>
                <a:lnTo>
                  <a:pt x="241568" y="82943"/>
                </a:lnTo>
                <a:close/>
                <a:moveTo>
                  <a:pt x="230011" y="72818"/>
                </a:moveTo>
                <a:lnTo>
                  <a:pt x="228989" y="74250"/>
                </a:lnTo>
                <a:lnTo>
                  <a:pt x="228989" y="74761"/>
                </a:lnTo>
                <a:lnTo>
                  <a:pt x="228477" y="74966"/>
                </a:lnTo>
                <a:lnTo>
                  <a:pt x="228477" y="74864"/>
                </a:lnTo>
                <a:lnTo>
                  <a:pt x="227557" y="75375"/>
                </a:lnTo>
                <a:lnTo>
                  <a:pt x="227045" y="76398"/>
                </a:lnTo>
                <a:lnTo>
                  <a:pt x="225409" y="77216"/>
                </a:lnTo>
                <a:lnTo>
                  <a:pt x="225307" y="77420"/>
                </a:lnTo>
                <a:lnTo>
                  <a:pt x="225205" y="77523"/>
                </a:lnTo>
                <a:lnTo>
                  <a:pt x="225205" y="78648"/>
                </a:lnTo>
                <a:lnTo>
                  <a:pt x="223670" y="77932"/>
                </a:lnTo>
                <a:lnTo>
                  <a:pt x="223159" y="78750"/>
                </a:lnTo>
                <a:lnTo>
                  <a:pt x="223261" y="78750"/>
                </a:lnTo>
                <a:lnTo>
                  <a:pt x="224182" y="83045"/>
                </a:lnTo>
                <a:lnTo>
                  <a:pt x="225511" y="83045"/>
                </a:lnTo>
                <a:lnTo>
                  <a:pt x="225818" y="83659"/>
                </a:lnTo>
                <a:lnTo>
                  <a:pt x="226023" y="83455"/>
                </a:lnTo>
                <a:lnTo>
                  <a:pt x="226330" y="83557"/>
                </a:lnTo>
                <a:lnTo>
                  <a:pt x="226739" y="83045"/>
                </a:lnTo>
                <a:lnTo>
                  <a:pt x="227352" y="83557"/>
                </a:lnTo>
                <a:lnTo>
                  <a:pt x="227966" y="83352"/>
                </a:lnTo>
                <a:lnTo>
                  <a:pt x="228068" y="83557"/>
                </a:lnTo>
                <a:lnTo>
                  <a:pt x="228375" y="84273"/>
                </a:lnTo>
                <a:lnTo>
                  <a:pt x="229398" y="83659"/>
                </a:lnTo>
                <a:lnTo>
                  <a:pt x="229705" y="83250"/>
                </a:lnTo>
                <a:lnTo>
                  <a:pt x="229602" y="83045"/>
                </a:lnTo>
                <a:lnTo>
                  <a:pt x="229807" y="82739"/>
                </a:lnTo>
                <a:lnTo>
                  <a:pt x="229705" y="81920"/>
                </a:lnTo>
                <a:lnTo>
                  <a:pt x="230216" y="81102"/>
                </a:lnTo>
                <a:lnTo>
                  <a:pt x="230523" y="81102"/>
                </a:lnTo>
                <a:lnTo>
                  <a:pt x="231239" y="78955"/>
                </a:lnTo>
                <a:lnTo>
                  <a:pt x="231852" y="79159"/>
                </a:lnTo>
                <a:lnTo>
                  <a:pt x="232159" y="79159"/>
                </a:lnTo>
                <a:lnTo>
                  <a:pt x="232057" y="78955"/>
                </a:lnTo>
                <a:lnTo>
                  <a:pt x="231136" y="77932"/>
                </a:lnTo>
                <a:lnTo>
                  <a:pt x="231034" y="77114"/>
                </a:lnTo>
                <a:lnTo>
                  <a:pt x="230932" y="77011"/>
                </a:lnTo>
                <a:lnTo>
                  <a:pt x="230420" y="76295"/>
                </a:lnTo>
                <a:lnTo>
                  <a:pt x="230830" y="76193"/>
                </a:lnTo>
                <a:lnTo>
                  <a:pt x="230932" y="76091"/>
                </a:lnTo>
                <a:lnTo>
                  <a:pt x="230932" y="75580"/>
                </a:lnTo>
                <a:lnTo>
                  <a:pt x="231750" y="75580"/>
                </a:lnTo>
                <a:lnTo>
                  <a:pt x="231443" y="74864"/>
                </a:lnTo>
                <a:lnTo>
                  <a:pt x="232261" y="74761"/>
                </a:lnTo>
                <a:lnTo>
                  <a:pt x="231136" y="73841"/>
                </a:lnTo>
                <a:lnTo>
                  <a:pt x="230727" y="73943"/>
                </a:lnTo>
                <a:lnTo>
                  <a:pt x="230420" y="72920"/>
                </a:lnTo>
                <a:lnTo>
                  <a:pt x="230011" y="73227"/>
                </a:lnTo>
                <a:lnTo>
                  <a:pt x="230011" y="72818"/>
                </a:lnTo>
                <a:close/>
                <a:moveTo>
                  <a:pt x="261307" y="82943"/>
                </a:moveTo>
                <a:lnTo>
                  <a:pt x="262841" y="84989"/>
                </a:lnTo>
                <a:lnTo>
                  <a:pt x="262330" y="83761"/>
                </a:lnTo>
                <a:lnTo>
                  <a:pt x="261307" y="82943"/>
                </a:lnTo>
                <a:close/>
                <a:moveTo>
                  <a:pt x="237682" y="78239"/>
                </a:moveTo>
                <a:lnTo>
                  <a:pt x="237170" y="78852"/>
                </a:lnTo>
                <a:lnTo>
                  <a:pt x="234614" y="78955"/>
                </a:lnTo>
                <a:lnTo>
                  <a:pt x="234409" y="78750"/>
                </a:lnTo>
                <a:lnTo>
                  <a:pt x="233489" y="79057"/>
                </a:lnTo>
                <a:lnTo>
                  <a:pt x="232977" y="79875"/>
                </a:lnTo>
                <a:lnTo>
                  <a:pt x="232977" y="80080"/>
                </a:lnTo>
                <a:lnTo>
                  <a:pt x="232875" y="80182"/>
                </a:lnTo>
                <a:lnTo>
                  <a:pt x="232977" y="80898"/>
                </a:lnTo>
                <a:lnTo>
                  <a:pt x="232875" y="80693"/>
                </a:lnTo>
                <a:lnTo>
                  <a:pt x="232057" y="83455"/>
                </a:lnTo>
                <a:lnTo>
                  <a:pt x="232364" y="83659"/>
                </a:lnTo>
                <a:lnTo>
                  <a:pt x="232568" y="83864"/>
                </a:lnTo>
                <a:lnTo>
                  <a:pt x="232670" y="85909"/>
                </a:lnTo>
                <a:lnTo>
                  <a:pt x="233386" y="85807"/>
                </a:lnTo>
                <a:lnTo>
                  <a:pt x="233591" y="82841"/>
                </a:lnTo>
                <a:lnTo>
                  <a:pt x="234409" y="84784"/>
                </a:lnTo>
                <a:lnTo>
                  <a:pt x="235636" y="84375"/>
                </a:lnTo>
                <a:lnTo>
                  <a:pt x="235125" y="83761"/>
                </a:lnTo>
                <a:lnTo>
                  <a:pt x="235227" y="83148"/>
                </a:lnTo>
                <a:lnTo>
                  <a:pt x="234409" y="82023"/>
                </a:lnTo>
                <a:lnTo>
                  <a:pt x="234614" y="82023"/>
                </a:lnTo>
                <a:lnTo>
                  <a:pt x="235739" y="81000"/>
                </a:lnTo>
                <a:lnTo>
                  <a:pt x="236148" y="81102"/>
                </a:lnTo>
                <a:lnTo>
                  <a:pt x="235739" y="80693"/>
                </a:lnTo>
                <a:lnTo>
                  <a:pt x="235739" y="80795"/>
                </a:lnTo>
                <a:lnTo>
                  <a:pt x="233591" y="81205"/>
                </a:lnTo>
                <a:lnTo>
                  <a:pt x="233284" y="80693"/>
                </a:lnTo>
                <a:lnTo>
                  <a:pt x="233182" y="80182"/>
                </a:lnTo>
                <a:lnTo>
                  <a:pt x="235943" y="79568"/>
                </a:lnTo>
                <a:lnTo>
                  <a:pt x="236455" y="79773"/>
                </a:lnTo>
                <a:lnTo>
                  <a:pt x="236966" y="79670"/>
                </a:lnTo>
                <a:lnTo>
                  <a:pt x="237580" y="79057"/>
                </a:lnTo>
                <a:lnTo>
                  <a:pt x="237682" y="78239"/>
                </a:lnTo>
                <a:close/>
                <a:moveTo>
                  <a:pt x="210580" y="74659"/>
                </a:moveTo>
                <a:lnTo>
                  <a:pt x="219068" y="86114"/>
                </a:lnTo>
                <a:lnTo>
                  <a:pt x="219068" y="85705"/>
                </a:lnTo>
                <a:lnTo>
                  <a:pt x="219989" y="86011"/>
                </a:lnTo>
                <a:lnTo>
                  <a:pt x="220398" y="83250"/>
                </a:lnTo>
                <a:lnTo>
                  <a:pt x="219273" y="82636"/>
                </a:lnTo>
                <a:lnTo>
                  <a:pt x="218966" y="81102"/>
                </a:lnTo>
                <a:lnTo>
                  <a:pt x="218352" y="80898"/>
                </a:lnTo>
                <a:lnTo>
                  <a:pt x="218148" y="80489"/>
                </a:lnTo>
                <a:lnTo>
                  <a:pt x="218455" y="79977"/>
                </a:lnTo>
                <a:lnTo>
                  <a:pt x="218045" y="79466"/>
                </a:lnTo>
                <a:lnTo>
                  <a:pt x="217330" y="79773"/>
                </a:lnTo>
                <a:lnTo>
                  <a:pt x="217739" y="79568"/>
                </a:lnTo>
                <a:lnTo>
                  <a:pt x="216102" y="77830"/>
                </a:lnTo>
                <a:lnTo>
                  <a:pt x="215795" y="78034"/>
                </a:lnTo>
                <a:lnTo>
                  <a:pt x="212625" y="74659"/>
                </a:lnTo>
                <a:close/>
                <a:moveTo>
                  <a:pt x="246170" y="85602"/>
                </a:moveTo>
                <a:lnTo>
                  <a:pt x="245864" y="85909"/>
                </a:lnTo>
                <a:lnTo>
                  <a:pt x="245761" y="86216"/>
                </a:lnTo>
                <a:lnTo>
                  <a:pt x="246273" y="86523"/>
                </a:lnTo>
                <a:lnTo>
                  <a:pt x="246375" y="86011"/>
                </a:lnTo>
                <a:lnTo>
                  <a:pt x="246170" y="85602"/>
                </a:lnTo>
                <a:close/>
                <a:moveTo>
                  <a:pt x="261818" y="84375"/>
                </a:moveTo>
                <a:lnTo>
                  <a:pt x="261716" y="84886"/>
                </a:lnTo>
                <a:lnTo>
                  <a:pt x="260693" y="85705"/>
                </a:lnTo>
                <a:lnTo>
                  <a:pt x="260386" y="85705"/>
                </a:lnTo>
                <a:lnTo>
                  <a:pt x="260284" y="85193"/>
                </a:lnTo>
                <a:lnTo>
                  <a:pt x="260080" y="85705"/>
                </a:lnTo>
                <a:lnTo>
                  <a:pt x="258648" y="85909"/>
                </a:lnTo>
                <a:lnTo>
                  <a:pt x="259773" y="86523"/>
                </a:lnTo>
                <a:lnTo>
                  <a:pt x="262125" y="85500"/>
                </a:lnTo>
                <a:lnTo>
                  <a:pt x="262023" y="85295"/>
                </a:lnTo>
                <a:lnTo>
                  <a:pt x="262227" y="85193"/>
                </a:lnTo>
                <a:lnTo>
                  <a:pt x="262432" y="84477"/>
                </a:lnTo>
                <a:lnTo>
                  <a:pt x="261818" y="84375"/>
                </a:lnTo>
                <a:close/>
                <a:moveTo>
                  <a:pt x="249239" y="87852"/>
                </a:moveTo>
                <a:lnTo>
                  <a:pt x="248727" y="88670"/>
                </a:lnTo>
                <a:lnTo>
                  <a:pt x="249648" y="88466"/>
                </a:lnTo>
                <a:lnTo>
                  <a:pt x="249239" y="87852"/>
                </a:lnTo>
                <a:close/>
                <a:moveTo>
                  <a:pt x="220500" y="86216"/>
                </a:moveTo>
                <a:lnTo>
                  <a:pt x="219682" y="86932"/>
                </a:lnTo>
                <a:lnTo>
                  <a:pt x="219784" y="87136"/>
                </a:lnTo>
                <a:lnTo>
                  <a:pt x="227250" y="88875"/>
                </a:lnTo>
                <a:lnTo>
                  <a:pt x="227761" y="88977"/>
                </a:lnTo>
                <a:lnTo>
                  <a:pt x="227761" y="88057"/>
                </a:lnTo>
                <a:lnTo>
                  <a:pt x="226330" y="87648"/>
                </a:lnTo>
                <a:lnTo>
                  <a:pt x="226125" y="87136"/>
                </a:lnTo>
                <a:lnTo>
                  <a:pt x="224591" y="86727"/>
                </a:lnTo>
                <a:lnTo>
                  <a:pt x="224284" y="87136"/>
                </a:lnTo>
                <a:lnTo>
                  <a:pt x="222648" y="87034"/>
                </a:lnTo>
                <a:lnTo>
                  <a:pt x="222239" y="86523"/>
                </a:lnTo>
                <a:lnTo>
                  <a:pt x="220500" y="86216"/>
                </a:lnTo>
                <a:close/>
                <a:moveTo>
                  <a:pt x="227761" y="88364"/>
                </a:moveTo>
                <a:lnTo>
                  <a:pt x="228273" y="89080"/>
                </a:lnTo>
                <a:lnTo>
                  <a:pt x="228886" y="88670"/>
                </a:lnTo>
                <a:lnTo>
                  <a:pt x="228375" y="88364"/>
                </a:lnTo>
                <a:close/>
                <a:moveTo>
                  <a:pt x="229398" y="88568"/>
                </a:moveTo>
                <a:lnTo>
                  <a:pt x="228989" y="88977"/>
                </a:lnTo>
                <a:lnTo>
                  <a:pt x="229705" y="89182"/>
                </a:lnTo>
                <a:lnTo>
                  <a:pt x="229807" y="88670"/>
                </a:lnTo>
                <a:lnTo>
                  <a:pt x="229398" y="88568"/>
                </a:lnTo>
                <a:close/>
                <a:moveTo>
                  <a:pt x="235432" y="88466"/>
                </a:moveTo>
                <a:lnTo>
                  <a:pt x="234920" y="88875"/>
                </a:lnTo>
                <a:lnTo>
                  <a:pt x="233182" y="88568"/>
                </a:lnTo>
                <a:lnTo>
                  <a:pt x="232670" y="88670"/>
                </a:lnTo>
                <a:lnTo>
                  <a:pt x="232670" y="89182"/>
                </a:lnTo>
                <a:lnTo>
                  <a:pt x="234716" y="88977"/>
                </a:lnTo>
                <a:lnTo>
                  <a:pt x="235330" y="88773"/>
                </a:lnTo>
                <a:lnTo>
                  <a:pt x="235534" y="88466"/>
                </a:lnTo>
                <a:close/>
                <a:moveTo>
                  <a:pt x="230932" y="88364"/>
                </a:moveTo>
                <a:lnTo>
                  <a:pt x="230727" y="88568"/>
                </a:lnTo>
                <a:lnTo>
                  <a:pt x="231034" y="88977"/>
                </a:lnTo>
                <a:lnTo>
                  <a:pt x="231034" y="88977"/>
                </a:lnTo>
                <a:lnTo>
                  <a:pt x="230420" y="88670"/>
                </a:lnTo>
                <a:lnTo>
                  <a:pt x="230011" y="89386"/>
                </a:lnTo>
                <a:lnTo>
                  <a:pt x="231341" y="88977"/>
                </a:lnTo>
                <a:lnTo>
                  <a:pt x="231750" y="89080"/>
                </a:lnTo>
                <a:lnTo>
                  <a:pt x="231648" y="88977"/>
                </a:lnTo>
                <a:lnTo>
                  <a:pt x="231750" y="88977"/>
                </a:lnTo>
                <a:lnTo>
                  <a:pt x="231648" y="88670"/>
                </a:lnTo>
                <a:lnTo>
                  <a:pt x="231239" y="88568"/>
                </a:lnTo>
                <a:lnTo>
                  <a:pt x="230932" y="88364"/>
                </a:lnTo>
                <a:close/>
                <a:moveTo>
                  <a:pt x="232670" y="89591"/>
                </a:moveTo>
                <a:lnTo>
                  <a:pt x="231750" y="89898"/>
                </a:lnTo>
                <a:lnTo>
                  <a:pt x="232670" y="90409"/>
                </a:lnTo>
                <a:lnTo>
                  <a:pt x="233284" y="90205"/>
                </a:lnTo>
                <a:lnTo>
                  <a:pt x="232670" y="89591"/>
                </a:lnTo>
                <a:close/>
                <a:moveTo>
                  <a:pt x="239420" y="88670"/>
                </a:moveTo>
                <a:lnTo>
                  <a:pt x="237989" y="88773"/>
                </a:lnTo>
                <a:lnTo>
                  <a:pt x="235943" y="90102"/>
                </a:lnTo>
                <a:lnTo>
                  <a:pt x="235943" y="90511"/>
                </a:lnTo>
                <a:lnTo>
                  <a:pt x="237068" y="90102"/>
                </a:lnTo>
                <a:lnTo>
                  <a:pt x="239420" y="88670"/>
                </a:lnTo>
                <a:close/>
                <a:moveTo>
                  <a:pt x="244636" y="80386"/>
                </a:moveTo>
                <a:lnTo>
                  <a:pt x="243205" y="81409"/>
                </a:lnTo>
                <a:lnTo>
                  <a:pt x="243920" y="81614"/>
                </a:lnTo>
                <a:lnTo>
                  <a:pt x="244125" y="82125"/>
                </a:lnTo>
                <a:lnTo>
                  <a:pt x="244432" y="82330"/>
                </a:lnTo>
                <a:lnTo>
                  <a:pt x="245761" y="82227"/>
                </a:lnTo>
                <a:lnTo>
                  <a:pt x="245557" y="82739"/>
                </a:lnTo>
                <a:lnTo>
                  <a:pt x="244023" y="82943"/>
                </a:lnTo>
                <a:lnTo>
                  <a:pt x="244534" y="83250"/>
                </a:lnTo>
                <a:lnTo>
                  <a:pt x="244739" y="84068"/>
                </a:lnTo>
                <a:lnTo>
                  <a:pt x="245659" y="83148"/>
                </a:lnTo>
                <a:lnTo>
                  <a:pt x="245761" y="83966"/>
                </a:lnTo>
                <a:lnTo>
                  <a:pt x="246580" y="84068"/>
                </a:lnTo>
                <a:lnTo>
                  <a:pt x="246784" y="84580"/>
                </a:lnTo>
                <a:lnTo>
                  <a:pt x="249648" y="85909"/>
                </a:lnTo>
                <a:lnTo>
                  <a:pt x="249443" y="86011"/>
                </a:lnTo>
                <a:lnTo>
                  <a:pt x="249648" y="86011"/>
                </a:lnTo>
                <a:lnTo>
                  <a:pt x="250261" y="87443"/>
                </a:lnTo>
                <a:lnTo>
                  <a:pt x="249852" y="87545"/>
                </a:lnTo>
                <a:lnTo>
                  <a:pt x="250057" y="88057"/>
                </a:lnTo>
                <a:lnTo>
                  <a:pt x="249852" y="88466"/>
                </a:lnTo>
                <a:lnTo>
                  <a:pt x="251080" y="88159"/>
                </a:lnTo>
                <a:lnTo>
                  <a:pt x="251080" y="88670"/>
                </a:lnTo>
                <a:lnTo>
                  <a:pt x="251693" y="89386"/>
                </a:lnTo>
                <a:lnTo>
                  <a:pt x="253534" y="89386"/>
                </a:lnTo>
                <a:lnTo>
                  <a:pt x="253841" y="88977"/>
                </a:lnTo>
                <a:lnTo>
                  <a:pt x="252920" y="88466"/>
                </a:lnTo>
                <a:lnTo>
                  <a:pt x="254455" y="88261"/>
                </a:lnTo>
                <a:lnTo>
                  <a:pt x="254455" y="88159"/>
                </a:lnTo>
                <a:lnTo>
                  <a:pt x="254557" y="88159"/>
                </a:lnTo>
                <a:lnTo>
                  <a:pt x="254250" y="87750"/>
                </a:lnTo>
                <a:lnTo>
                  <a:pt x="254864" y="87955"/>
                </a:lnTo>
                <a:lnTo>
                  <a:pt x="255375" y="87852"/>
                </a:lnTo>
                <a:lnTo>
                  <a:pt x="257625" y="90307"/>
                </a:lnTo>
                <a:lnTo>
                  <a:pt x="260080" y="91023"/>
                </a:lnTo>
                <a:lnTo>
                  <a:pt x="260080" y="90716"/>
                </a:lnTo>
                <a:lnTo>
                  <a:pt x="260489" y="90614"/>
                </a:lnTo>
                <a:lnTo>
                  <a:pt x="259670" y="90307"/>
                </a:lnTo>
                <a:lnTo>
                  <a:pt x="259670" y="90102"/>
                </a:lnTo>
                <a:lnTo>
                  <a:pt x="259159" y="89386"/>
                </a:lnTo>
                <a:lnTo>
                  <a:pt x="258648" y="89386"/>
                </a:lnTo>
                <a:lnTo>
                  <a:pt x="257318" y="87034"/>
                </a:lnTo>
                <a:lnTo>
                  <a:pt x="258136" y="86932"/>
                </a:lnTo>
                <a:lnTo>
                  <a:pt x="256500" y="85705"/>
                </a:lnTo>
                <a:lnTo>
                  <a:pt x="256398" y="84989"/>
                </a:lnTo>
                <a:lnTo>
                  <a:pt x="251898" y="82636"/>
                </a:lnTo>
                <a:lnTo>
                  <a:pt x="249545" y="81716"/>
                </a:lnTo>
                <a:lnTo>
                  <a:pt x="248727" y="81920"/>
                </a:lnTo>
                <a:lnTo>
                  <a:pt x="248727" y="82125"/>
                </a:lnTo>
                <a:lnTo>
                  <a:pt x="246989" y="83455"/>
                </a:lnTo>
                <a:lnTo>
                  <a:pt x="246375" y="82636"/>
                </a:lnTo>
                <a:lnTo>
                  <a:pt x="246273" y="82943"/>
                </a:lnTo>
                <a:lnTo>
                  <a:pt x="245864" y="80795"/>
                </a:lnTo>
                <a:lnTo>
                  <a:pt x="244636" y="80386"/>
                </a:lnTo>
                <a:close/>
                <a:moveTo>
                  <a:pt x="242693" y="91534"/>
                </a:moveTo>
                <a:lnTo>
                  <a:pt x="241977" y="91636"/>
                </a:lnTo>
                <a:lnTo>
                  <a:pt x="241977" y="91841"/>
                </a:lnTo>
                <a:lnTo>
                  <a:pt x="242386" y="92352"/>
                </a:lnTo>
                <a:lnTo>
                  <a:pt x="242693" y="91534"/>
                </a:lnTo>
                <a:close/>
                <a:moveTo>
                  <a:pt x="285750" y="96648"/>
                </a:moveTo>
                <a:lnTo>
                  <a:pt x="285545" y="96750"/>
                </a:lnTo>
                <a:lnTo>
                  <a:pt x="284420" y="97159"/>
                </a:lnTo>
                <a:lnTo>
                  <a:pt x="284216" y="97261"/>
                </a:lnTo>
                <a:lnTo>
                  <a:pt x="285239" y="97261"/>
                </a:lnTo>
                <a:lnTo>
                  <a:pt x="285750" y="96648"/>
                </a:lnTo>
                <a:close/>
                <a:moveTo>
                  <a:pt x="285648" y="97057"/>
                </a:moveTo>
                <a:lnTo>
                  <a:pt x="285239" y="97261"/>
                </a:lnTo>
                <a:lnTo>
                  <a:pt x="285545" y="97261"/>
                </a:lnTo>
                <a:lnTo>
                  <a:pt x="285648" y="97057"/>
                </a:lnTo>
                <a:close/>
                <a:moveTo>
                  <a:pt x="284011" y="98080"/>
                </a:moveTo>
                <a:lnTo>
                  <a:pt x="282886" y="98591"/>
                </a:lnTo>
                <a:lnTo>
                  <a:pt x="283807" y="98693"/>
                </a:lnTo>
                <a:lnTo>
                  <a:pt x="284114" y="98386"/>
                </a:lnTo>
                <a:lnTo>
                  <a:pt x="284011" y="98080"/>
                </a:lnTo>
                <a:close/>
                <a:moveTo>
                  <a:pt x="168852" y="92761"/>
                </a:moveTo>
                <a:lnTo>
                  <a:pt x="168136" y="92864"/>
                </a:lnTo>
                <a:lnTo>
                  <a:pt x="168136" y="93682"/>
                </a:lnTo>
                <a:lnTo>
                  <a:pt x="167318" y="94295"/>
                </a:lnTo>
                <a:lnTo>
                  <a:pt x="167318" y="95114"/>
                </a:lnTo>
                <a:lnTo>
                  <a:pt x="166807" y="95420"/>
                </a:lnTo>
                <a:lnTo>
                  <a:pt x="166705" y="95318"/>
                </a:lnTo>
                <a:lnTo>
                  <a:pt x="165886" y="96341"/>
                </a:lnTo>
                <a:lnTo>
                  <a:pt x="165375" y="96239"/>
                </a:lnTo>
                <a:lnTo>
                  <a:pt x="164966" y="96443"/>
                </a:lnTo>
                <a:lnTo>
                  <a:pt x="164761" y="96443"/>
                </a:lnTo>
                <a:lnTo>
                  <a:pt x="164045" y="96955"/>
                </a:lnTo>
                <a:lnTo>
                  <a:pt x="163330" y="105955"/>
                </a:lnTo>
                <a:lnTo>
                  <a:pt x="163943" y="106261"/>
                </a:lnTo>
                <a:lnTo>
                  <a:pt x="165477" y="105852"/>
                </a:lnTo>
                <a:lnTo>
                  <a:pt x="168750" y="96034"/>
                </a:lnTo>
                <a:lnTo>
                  <a:pt x="169159" y="96341"/>
                </a:lnTo>
                <a:lnTo>
                  <a:pt x="169364" y="96136"/>
                </a:lnTo>
                <a:lnTo>
                  <a:pt x="168852" y="92761"/>
                </a:lnTo>
                <a:close/>
                <a:moveTo>
                  <a:pt x="79364" y="112500"/>
                </a:moveTo>
                <a:lnTo>
                  <a:pt x="79057" y="112807"/>
                </a:lnTo>
                <a:lnTo>
                  <a:pt x="79057" y="113011"/>
                </a:lnTo>
                <a:lnTo>
                  <a:pt x="79364" y="112500"/>
                </a:lnTo>
                <a:close/>
                <a:moveTo>
                  <a:pt x="185114" y="3784"/>
                </a:moveTo>
                <a:lnTo>
                  <a:pt x="184091" y="4398"/>
                </a:lnTo>
                <a:lnTo>
                  <a:pt x="184909" y="4705"/>
                </a:lnTo>
                <a:lnTo>
                  <a:pt x="183273" y="4705"/>
                </a:lnTo>
                <a:lnTo>
                  <a:pt x="183989" y="5011"/>
                </a:lnTo>
                <a:lnTo>
                  <a:pt x="184193" y="5318"/>
                </a:lnTo>
                <a:lnTo>
                  <a:pt x="184193" y="5318"/>
                </a:lnTo>
                <a:lnTo>
                  <a:pt x="183784" y="5011"/>
                </a:lnTo>
                <a:lnTo>
                  <a:pt x="180102" y="5114"/>
                </a:lnTo>
                <a:lnTo>
                  <a:pt x="180920" y="5216"/>
                </a:lnTo>
                <a:lnTo>
                  <a:pt x="177341" y="5727"/>
                </a:lnTo>
                <a:lnTo>
                  <a:pt x="177545" y="5932"/>
                </a:lnTo>
                <a:lnTo>
                  <a:pt x="177341" y="6239"/>
                </a:lnTo>
                <a:lnTo>
                  <a:pt x="176830" y="6136"/>
                </a:lnTo>
                <a:lnTo>
                  <a:pt x="177955" y="6443"/>
                </a:lnTo>
                <a:lnTo>
                  <a:pt x="177239" y="6443"/>
                </a:lnTo>
                <a:lnTo>
                  <a:pt x="178568" y="6852"/>
                </a:lnTo>
                <a:lnTo>
                  <a:pt x="178057" y="7057"/>
                </a:lnTo>
                <a:lnTo>
                  <a:pt x="178261" y="6852"/>
                </a:lnTo>
                <a:lnTo>
                  <a:pt x="178261" y="6852"/>
                </a:lnTo>
                <a:lnTo>
                  <a:pt x="174477" y="7057"/>
                </a:lnTo>
                <a:lnTo>
                  <a:pt x="174682" y="7466"/>
                </a:lnTo>
                <a:lnTo>
                  <a:pt x="174989" y="7568"/>
                </a:lnTo>
                <a:lnTo>
                  <a:pt x="175091" y="7773"/>
                </a:lnTo>
                <a:lnTo>
                  <a:pt x="177648" y="8795"/>
                </a:lnTo>
                <a:lnTo>
                  <a:pt x="177852" y="9205"/>
                </a:lnTo>
                <a:lnTo>
                  <a:pt x="178261" y="9511"/>
                </a:lnTo>
                <a:lnTo>
                  <a:pt x="178169" y="9789"/>
                </a:lnTo>
                <a:lnTo>
                  <a:pt x="177852" y="9409"/>
                </a:lnTo>
                <a:lnTo>
                  <a:pt x="177545" y="9716"/>
                </a:lnTo>
                <a:lnTo>
                  <a:pt x="177034" y="8591"/>
                </a:lnTo>
                <a:lnTo>
                  <a:pt x="173352" y="8182"/>
                </a:lnTo>
                <a:lnTo>
                  <a:pt x="173352" y="8182"/>
                </a:lnTo>
                <a:lnTo>
                  <a:pt x="173966" y="8489"/>
                </a:lnTo>
                <a:lnTo>
                  <a:pt x="172636" y="8489"/>
                </a:lnTo>
                <a:lnTo>
                  <a:pt x="175193" y="9205"/>
                </a:lnTo>
                <a:lnTo>
                  <a:pt x="175193" y="9205"/>
                </a:lnTo>
                <a:lnTo>
                  <a:pt x="172432" y="8898"/>
                </a:lnTo>
                <a:lnTo>
                  <a:pt x="172432" y="8693"/>
                </a:lnTo>
                <a:lnTo>
                  <a:pt x="172227" y="8591"/>
                </a:lnTo>
                <a:lnTo>
                  <a:pt x="172227" y="8182"/>
                </a:lnTo>
                <a:lnTo>
                  <a:pt x="171307" y="7670"/>
                </a:lnTo>
                <a:lnTo>
                  <a:pt x="171307" y="7670"/>
                </a:lnTo>
                <a:lnTo>
                  <a:pt x="171716" y="8284"/>
                </a:lnTo>
                <a:lnTo>
                  <a:pt x="171102" y="8898"/>
                </a:lnTo>
                <a:lnTo>
                  <a:pt x="172227" y="9511"/>
                </a:lnTo>
                <a:lnTo>
                  <a:pt x="172330" y="10330"/>
                </a:lnTo>
                <a:lnTo>
                  <a:pt x="174886" y="11148"/>
                </a:lnTo>
                <a:lnTo>
                  <a:pt x="173966" y="11045"/>
                </a:lnTo>
                <a:lnTo>
                  <a:pt x="174170" y="12068"/>
                </a:lnTo>
                <a:lnTo>
                  <a:pt x="173966" y="12375"/>
                </a:lnTo>
                <a:lnTo>
                  <a:pt x="173966" y="12580"/>
                </a:lnTo>
                <a:lnTo>
                  <a:pt x="173250" y="13398"/>
                </a:lnTo>
                <a:lnTo>
                  <a:pt x="170898" y="12886"/>
                </a:lnTo>
                <a:lnTo>
                  <a:pt x="172023" y="12886"/>
                </a:lnTo>
                <a:lnTo>
                  <a:pt x="172125" y="13091"/>
                </a:lnTo>
                <a:lnTo>
                  <a:pt x="172636" y="12989"/>
                </a:lnTo>
                <a:lnTo>
                  <a:pt x="172330" y="12784"/>
                </a:lnTo>
                <a:lnTo>
                  <a:pt x="173045" y="11761"/>
                </a:lnTo>
                <a:lnTo>
                  <a:pt x="173045" y="11352"/>
                </a:lnTo>
                <a:lnTo>
                  <a:pt x="172330" y="11045"/>
                </a:lnTo>
                <a:lnTo>
                  <a:pt x="171307" y="9920"/>
                </a:lnTo>
                <a:lnTo>
                  <a:pt x="171307" y="9716"/>
                </a:lnTo>
                <a:lnTo>
                  <a:pt x="171102" y="9307"/>
                </a:lnTo>
                <a:lnTo>
                  <a:pt x="170284" y="8898"/>
                </a:lnTo>
                <a:lnTo>
                  <a:pt x="170182" y="7875"/>
                </a:lnTo>
                <a:lnTo>
                  <a:pt x="168545" y="7670"/>
                </a:lnTo>
                <a:lnTo>
                  <a:pt x="167727" y="8080"/>
                </a:lnTo>
                <a:lnTo>
                  <a:pt x="167625" y="8795"/>
                </a:lnTo>
                <a:lnTo>
                  <a:pt x="167114" y="9205"/>
                </a:lnTo>
                <a:lnTo>
                  <a:pt x="167727" y="9409"/>
                </a:lnTo>
                <a:lnTo>
                  <a:pt x="168034" y="10432"/>
                </a:lnTo>
                <a:lnTo>
                  <a:pt x="169875" y="10943"/>
                </a:lnTo>
                <a:lnTo>
                  <a:pt x="169568" y="11557"/>
                </a:lnTo>
                <a:lnTo>
                  <a:pt x="164148" y="10227"/>
                </a:lnTo>
                <a:lnTo>
                  <a:pt x="163636" y="10432"/>
                </a:lnTo>
                <a:lnTo>
                  <a:pt x="164352" y="10841"/>
                </a:lnTo>
                <a:lnTo>
                  <a:pt x="163841" y="11250"/>
                </a:lnTo>
                <a:lnTo>
                  <a:pt x="159648" y="11557"/>
                </a:lnTo>
                <a:lnTo>
                  <a:pt x="159648" y="11557"/>
                </a:lnTo>
                <a:lnTo>
                  <a:pt x="159955" y="11455"/>
                </a:lnTo>
                <a:lnTo>
                  <a:pt x="159852" y="11045"/>
                </a:lnTo>
                <a:lnTo>
                  <a:pt x="159750" y="11045"/>
                </a:lnTo>
                <a:lnTo>
                  <a:pt x="158830" y="11250"/>
                </a:lnTo>
                <a:lnTo>
                  <a:pt x="159136" y="11352"/>
                </a:lnTo>
                <a:lnTo>
                  <a:pt x="158830" y="11455"/>
                </a:lnTo>
                <a:lnTo>
                  <a:pt x="158625" y="11352"/>
                </a:lnTo>
                <a:lnTo>
                  <a:pt x="156682" y="11966"/>
                </a:lnTo>
                <a:lnTo>
                  <a:pt x="156886" y="12068"/>
                </a:lnTo>
                <a:lnTo>
                  <a:pt x="155250" y="12886"/>
                </a:lnTo>
                <a:lnTo>
                  <a:pt x="154330" y="12273"/>
                </a:lnTo>
                <a:lnTo>
                  <a:pt x="155352" y="11966"/>
                </a:lnTo>
                <a:lnTo>
                  <a:pt x="152898" y="11250"/>
                </a:lnTo>
                <a:lnTo>
                  <a:pt x="153614" y="11659"/>
                </a:lnTo>
                <a:lnTo>
                  <a:pt x="153614" y="12375"/>
                </a:lnTo>
                <a:lnTo>
                  <a:pt x="154227" y="12784"/>
                </a:lnTo>
                <a:lnTo>
                  <a:pt x="154227" y="13602"/>
                </a:lnTo>
                <a:lnTo>
                  <a:pt x="152795" y="13193"/>
                </a:lnTo>
                <a:lnTo>
                  <a:pt x="151466" y="14011"/>
                </a:lnTo>
                <a:lnTo>
                  <a:pt x="152080" y="14727"/>
                </a:lnTo>
                <a:lnTo>
                  <a:pt x="151568" y="14932"/>
                </a:lnTo>
                <a:lnTo>
                  <a:pt x="149625" y="14318"/>
                </a:lnTo>
                <a:lnTo>
                  <a:pt x="149420" y="14523"/>
                </a:lnTo>
                <a:lnTo>
                  <a:pt x="150545" y="15239"/>
                </a:lnTo>
                <a:lnTo>
                  <a:pt x="150341" y="15545"/>
                </a:lnTo>
                <a:lnTo>
                  <a:pt x="146864" y="13295"/>
                </a:lnTo>
                <a:lnTo>
                  <a:pt x="147068" y="13193"/>
                </a:lnTo>
                <a:lnTo>
                  <a:pt x="145636" y="12580"/>
                </a:lnTo>
                <a:lnTo>
                  <a:pt x="151057" y="13398"/>
                </a:lnTo>
                <a:lnTo>
                  <a:pt x="151977" y="12886"/>
                </a:lnTo>
                <a:lnTo>
                  <a:pt x="151875" y="12375"/>
                </a:lnTo>
                <a:lnTo>
                  <a:pt x="150648" y="11659"/>
                </a:lnTo>
                <a:lnTo>
                  <a:pt x="150750" y="11761"/>
                </a:lnTo>
                <a:lnTo>
                  <a:pt x="150750" y="11761"/>
                </a:lnTo>
                <a:lnTo>
                  <a:pt x="146455" y="10636"/>
                </a:lnTo>
                <a:lnTo>
                  <a:pt x="146045" y="10841"/>
                </a:lnTo>
                <a:lnTo>
                  <a:pt x="145841" y="10636"/>
                </a:lnTo>
                <a:lnTo>
                  <a:pt x="145841" y="10534"/>
                </a:lnTo>
                <a:lnTo>
                  <a:pt x="145227" y="10432"/>
                </a:lnTo>
                <a:lnTo>
                  <a:pt x="145739" y="10330"/>
                </a:lnTo>
                <a:lnTo>
                  <a:pt x="145023" y="10125"/>
                </a:lnTo>
                <a:lnTo>
                  <a:pt x="145023" y="10125"/>
                </a:lnTo>
                <a:lnTo>
                  <a:pt x="145125" y="10227"/>
                </a:lnTo>
                <a:lnTo>
                  <a:pt x="143591" y="10330"/>
                </a:lnTo>
                <a:lnTo>
                  <a:pt x="143489" y="10125"/>
                </a:lnTo>
                <a:lnTo>
                  <a:pt x="142875" y="9920"/>
                </a:lnTo>
                <a:lnTo>
                  <a:pt x="144102" y="9920"/>
                </a:lnTo>
                <a:lnTo>
                  <a:pt x="143080" y="9409"/>
                </a:lnTo>
                <a:lnTo>
                  <a:pt x="142466" y="9920"/>
                </a:lnTo>
                <a:lnTo>
                  <a:pt x="141955" y="9409"/>
                </a:lnTo>
                <a:lnTo>
                  <a:pt x="141443" y="9716"/>
                </a:lnTo>
                <a:lnTo>
                  <a:pt x="141341" y="9511"/>
                </a:lnTo>
                <a:lnTo>
                  <a:pt x="141136" y="9409"/>
                </a:lnTo>
                <a:lnTo>
                  <a:pt x="140727" y="9920"/>
                </a:lnTo>
                <a:lnTo>
                  <a:pt x="140830" y="9409"/>
                </a:lnTo>
                <a:lnTo>
                  <a:pt x="140318" y="9307"/>
                </a:lnTo>
                <a:lnTo>
                  <a:pt x="139398" y="10023"/>
                </a:lnTo>
                <a:lnTo>
                  <a:pt x="138886" y="9716"/>
                </a:lnTo>
                <a:lnTo>
                  <a:pt x="138068" y="9920"/>
                </a:lnTo>
                <a:lnTo>
                  <a:pt x="138477" y="10227"/>
                </a:lnTo>
                <a:lnTo>
                  <a:pt x="137864" y="10125"/>
                </a:lnTo>
                <a:lnTo>
                  <a:pt x="137557" y="10330"/>
                </a:lnTo>
                <a:lnTo>
                  <a:pt x="137761" y="10534"/>
                </a:lnTo>
                <a:lnTo>
                  <a:pt x="137352" y="10636"/>
                </a:lnTo>
                <a:lnTo>
                  <a:pt x="137352" y="10125"/>
                </a:lnTo>
                <a:lnTo>
                  <a:pt x="137045" y="10534"/>
                </a:lnTo>
                <a:lnTo>
                  <a:pt x="136330" y="10534"/>
                </a:lnTo>
                <a:lnTo>
                  <a:pt x="136636" y="10636"/>
                </a:lnTo>
                <a:lnTo>
                  <a:pt x="136125" y="10636"/>
                </a:lnTo>
                <a:lnTo>
                  <a:pt x="136125" y="10841"/>
                </a:lnTo>
                <a:lnTo>
                  <a:pt x="135818" y="10841"/>
                </a:lnTo>
                <a:lnTo>
                  <a:pt x="135716" y="11045"/>
                </a:lnTo>
                <a:lnTo>
                  <a:pt x="135102" y="11352"/>
                </a:lnTo>
                <a:lnTo>
                  <a:pt x="135818" y="11455"/>
                </a:lnTo>
                <a:lnTo>
                  <a:pt x="135307" y="11455"/>
                </a:lnTo>
                <a:lnTo>
                  <a:pt x="135102" y="11761"/>
                </a:lnTo>
                <a:lnTo>
                  <a:pt x="135102" y="11966"/>
                </a:lnTo>
                <a:lnTo>
                  <a:pt x="134795" y="11659"/>
                </a:lnTo>
                <a:lnTo>
                  <a:pt x="134386" y="11761"/>
                </a:lnTo>
                <a:lnTo>
                  <a:pt x="134591" y="11864"/>
                </a:lnTo>
                <a:lnTo>
                  <a:pt x="134080" y="12068"/>
                </a:lnTo>
                <a:lnTo>
                  <a:pt x="134386" y="12068"/>
                </a:lnTo>
                <a:lnTo>
                  <a:pt x="134693" y="12273"/>
                </a:lnTo>
                <a:lnTo>
                  <a:pt x="134693" y="12375"/>
                </a:lnTo>
                <a:lnTo>
                  <a:pt x="133875" y="12477"/>
                </a:lnTo>
                <a:lnTo>
                  <a:pt x="134591" y="12477"/>
                </a:lnTo>
                <a:lnTo>
                  <a:pt x="133364" y="12784"/>
                </a:lnTo>
                <a:lnTo>
                  <a:pt x="133568" y="12886"/>
                </a:lnTo>
                <a:lnTo>
                  <a:pt x="133057" y="13091"/>
                </a:lnTo>
                <a:lnTo>
                  <a:pt x="133670" y="13295"/>
                </a:lnTo>
                <a:lnTo>
                  <a:pt x="132852" y="13500"/>
                </a:lnTo>
                <a:lnTo>
                  <a:pt x="133057" y="13602"/>
                </a:lnTo>
                <a:lnTo>
                  <a:pt x="133057" y="14216"/>
                </a:lnTo>
                <a:lnTo>
                  <a:pt x="132750" y="14420"/>
                </a:lnTo>
                <a:lnTo>
                  <a:pt x="132545" y="14318"/>
                </a:lnTo>
                <a:lnTo>
                  <a:pt x="131932" y="14727"/>
                </a:lnTo>
                <a:lnTo>
                  <a:pt x="132239" y="14625"/>
                </a:lnTo>
                <a:lnTo>
                  <a:pt x="130909" y="15750"/>
                </a:lnTo>
                <a:lnTo>
                  <a:pt x="131114" y="15852"/>
                </a:lnTo>
                <a:lnTo>
                  <a:pt x="131830" y="15545"/>
                </a:lnTo>
                <a:lnTo>
                  <a:pt x="131727" y="15443"/>
                </a:lnTo>
                <a:lnTo>
                  <a:pt x="132136" y="15443"/>
                </a:lnTo>
                <a:lnTo>
                  <a:pt x="131932" y="15545"/>
                </a:lnTo>
                <a:lnTo>
                  <a:pt x="132136" y="15545"/>
                </a:lnTo>
                <a:lnTo>
                  <a:pt x="131727" y="15852"/>
                </a:lnTo>
                <a:lnTo>
                  <a:pt x="130091" y="15955"/>
                </a:lnTo>
                <a:lnTo>
                  <a:pt x="129886" y="16057"/>
                </a:lnTo>
                <a:lnTo>
                  <a:pt x="130193" y="16466"/>
                </a:lnTo>
                <a:lnTo>
                  <a:pt x="128864" y="16568"/>
                </a:lnTo>
                <a:lnTo>
                  <a:pt x="129886" y="16568"/>
                </a:lnTo>
                <a:lnTo>
                  <a:pt x="128785" y="16804"/>
                </a:lnTo>
                <a:lnTo>
                  <a:pt x="128785" y="16804"/>
                </a:lnTo>
                <a:lnTo>
                  <a:pt x="127841" y="17182"/>
                </a:lnTo>
                <a:lnTo>
                  <a:pt x="128966" y="17386"/>
                </a:lnTo>
                <a:lnTo>
                  <a:pt x="127739" y="17386"/>
                </a:lnTo>
                <a:lnTo>
                  <a:pt x="128045" y="18102"/>
                </a:lnTo>
                <a:lnTo>
                  <a:pt x="129477" y="17795"/>
                </a:lnTo>
                <a:lnTo>
                  <a:pt x="129580" y="18000"/>
                </a:lnTo>
                <a:lnTo>
                  <a:pt x="129273" y="18205"/>
                </a:lnTo>
                <a:lnTo>
                  <a:pt x="127739" y="18307"/>
                </a:lnTo>
                <a:lnTo>
                  <a:pt x="128250" y="18511"/>
                </a:lnTo>
                <a:lnTo>
                  <a:pt x="127943" y="18818"/>
                </a:lnTo>
                <a:lnTo>
                  <a:pt x="128250" y="19023"/>
                </a:lnTo>
                <a:lnTo>
                  <a:pt x="127943" y="19227"/>
                </a:lnTo>
                <a:lnTo>
                  <a:pt x="128045" y="19330"/>
                </a:lnTo>
                <a:lnTo>
                  <a:pt x="129170" y="18614"/>
                </a:lnTo>
                <a:lnTo>
                  <a:pt x="128864" y="19023"/>
                </a:lnTo>
                <a:lnTo>
                  <a:pt x="128557" y="19023"/>
                </a:lnTo>
                <a:lnTo>
                  <a:pt x="128659" y="19330"/>
                </a:lnTo>
                <a:lnTo>
                  <a:pt x="127943" y="19841"/>
                </a:lnTo>
                <a:lnTo>
                  <a:pt x="128864" y="19534"/>
                </a:lnTo>
                <a:lnTo>
                  <a:pt x="128557" y="19841"/>
                </a:lnTo>
                <a:lnTo>
                  <a:pt x="128864" y="20045"/>
                </a:lnTo>
                <a:lnTo>
                  <a:pt x="128250" y="20352"/>
                </a:lnTo>
                <a:lnTo>
                  <a:pt x="129068" y="20761"/>
                </a:lnTo>
                <a:lnTo>
                  <a:pt x="128966" y="20864"/>
                </a:lnTo>
                <a:lnTo>
                  <a:pt x="131011" y="20148"/>
                </a:lnTo>
                <a:lnTo>
                  <a:pt x="131114" y="19943"/>
                </a:lnTo>
                <a:lnTo>
                  <a:pt x="131727" y="19841"/>
                </a:lnTo>
                <a:lnTo>
                  <a:pt x="131727" y="19534"/>
                </a:lnTo>
                <a:lnTo>
                  <a:pt x="131830" y="19330"/>
                </a:lnTo>
                <a:lnTo>
                  <a:pt x="132034" y="19841"/>
                </a:lnTo>
                <a:lnTo>
                  <a:pt x="132443" y="20045"/>
                </a:lnTo>
                <a:lnTo>
                  <a:pt x="132443" y="20659"/>
                </a:lnTo>
                <a:lnTo>
                  <a:pt x="133670" y="22295"/>
                </a:lnTo>
                <a:lnTo>
                  <a:pt x="133670" y="22500"/>
                </a:lnTo>
                <a:lnTo>
                  <a:pt x="133773" y="22705"/>
                </a:lnTo>
                <a:lnTo>
                  <a:pt x="133466" y="22705"/>
                </a:lnTo>
                <a:lnTo>
                  <a:pt x="133875" y="23523"/>
                </a:lnTo>
                <a:lnTo>
                  <a:pt x="135000" y="23318"/>
                </a:lnTo>
                <a:lnTo>
                  <a:pt x="135205" y="22909"/>
                </a:lnTo>
                <a:lnTo>
                  <a:pt x="136023" y="22807"/>
                </a:lnTo>
                <a:lnTo>
                  <a:pt x="136432" y="20557"/>
                </a:lnTo>
                <a:lnTo>
                  <a:pt x="136636" y="20557"/>
                </a:lnTo>
                <a:lnTo>
                  <a:pt x="136023" y="20455"/>
                </a:lnTo>
                <a:lnTo>
                  <a:pt x="137761" y="19739"/>
                </a:lnTo>
                <a:lnTo>
                  <a:pt x="137250" y="19739"/>
                </a:lnTo>
                <a:lnTo>
                  <a:pt x="137966" y="19227"/>
                </a:lnTo>
                <a:lnTo>
                  <a:pt x="136636" y="18307"/>
                </a:lnTo>
                <a:lnTo>
                  <a:pt x="136432" y="17489"/>
                </a:lnTo>
                <a:lnTo>
                  <a:pt x="136636" y="17591"/>
                </a:lnTo>
                <a:lnTo>
                  <a:pt x="136636" y="17080"/>
                </a:lnTo>
                <a:lnTo>
                  <a:pt x="136432" y="16773"/>
                </a:lnTo>
                <a:lnTo>
                  <a:pt x="136943" y="16670"/>
                </a:lnTo>
                <a:lnTo>
                  <a:pt x="136841" y="16670"/>
                </a:lnTo>
                <a:lnTo>
                  <a:pt x="136739" y="16466"/>
                </a:lnTo>
                <a:lnTo>
                  <a:pt x="137148" y="16364"/>
                </a:lnTo>
                <a:lnTo>
                  <a:pt x="137045" y="16364"/>
                </a:lnTo>
                <a:lnTo>
                  <a:pt x="137455" y="16159"/>
                </a:lnTo>
                <a:lnTo>
                  <a:pt x="137352" y="16057"/>
                </a:lnTo>
                <a:lnTo>
                  <a:pt x="137864" y="15955"/>
                </a:lnTo>
                <a:lnTo>
                  <a:pt x="137864" y="15852"/>
                </a:lnTo>
                <a:lnTo>
                  <a:pt x="139091" y="15034"/>
                </a:lnTo>
                <a:lnTo>
                  <a:pt x="138784" y="14625"/>
                </a:lnTo>
                <a:lnTo>
                  <a:pt x="138886" y="14216"/>
                </a:lnTo>
                <a:lnTo>
                  <a:pt x="138989" y="14216"/>
                </a:lnTo>
                <a:lnTo>
                  <a:pt x="139193" y="14011"/>
                </a:lnTo>
                <a:lnTo>
                  <a:pt x="139398" y="14011"/>
                </a:lnTo>
                <a:lnTo>
                  <a:pt x="139295" y="13909"/>
                </a:lnTo>
                <a:lnTo>
                  <a:pt x="141034" y="13705"/>
                </a:lnTo>
                <a:lnTo>
                  <a:pt x="141545" y="14011"/>
                </a:lnTo>
                <a:lnTo>
                  <a:pt x="141648" y="14625"/>
                </a:lnTo>
                <a:lnTo>
                  <a:pt x="139807" y="15852"/>
                </a:lnTo>
                <a:lnTo>
                  <a:pt x="139807" y="15955"/>
                </a:lnTo>
                <a:lnTo>
                  <a:pt x="139295" y="16159"/>
                </a:lnTo>
                <a:lnTo>
                  <a:pt x="139602" y="18511"/>
                </a:lnTo>
                <a:lnTo>
                  <a:pt x="140523" y="18716"/>
                </a:lnTo>
                <a:lnTo>
                  <a:pt x="140523" y="18920"/>
                </a:lnTo>
                <a:lnTo>
                  <a:pt x="140727" y="18920"/>
                </a:lnTo>
                <a:lnTo>
                  <a:pt x="140830" y="19330"/>
                </a:lnTo>
                <a:lnTo>
                  <a:pt x="142977" y="18818"/>
                </a:lnTo>
                <a:lnTo>
                  <a:pt x="142875" y="18716"/>
                </a:lnTo>
                <a:lnTo>
                  <a:pt x="143386" y="18511"/>
                </a:lnTo>
                <a:lnTo>
                  <a:pt x="143284" y="18716"/>
                </a:lnTo>
                <a:lnTo>
                  <a:pt x="144731" y="18619"/>
                </a:lnTo>
                <a:lnTo>
                  <a:pt x="144731" y="18619"/>
                </a:lnTo>
                <a:lnTo>
                  <a:pt x="146045" y="19125"/>
                </a:lnTo>
                <a:lnTo>
                  <a:pt x="144920" y="19227"/>
                </a:lnTo>
                <a:lnTo>
                  <a:pt x="144818" y="19432"/>
                </a:lnTo>
                <a:lnTo>
                  <a:pt x="144614" y="19330"/>
                </a:lnTo>
                <a:lnTo>
                  <a:pt x="144511" y="19636"/>
                </a:lnTo>
                <a:lnTo>
                  <a:pt x="141750" y="19739"/>
                </a:lnTo>
                <a:lnTo>
                  <a:pt x="141341" y="20045"/>
                </a:lnTo>
                <a:lnTo>
                  <a:pt x="142261" y="20864"/>
                </a:lnTo>
                <a:lnTo>
                  <a:pt x="142261" y="21784"/>
                </a:lnTo>
                <a:lnTo>
                  <a:pt x="140318" y="21375"/>
                </a:lnTo>
                <a:lnTo>
                  <a:pt x="139909" y="22398"/>
                </a:lnTo>
                <a:lnTo>
                  <a:pt x="140011" y="23318"/>
                </a:lnTo>
                <a:lnTo>
                  <a:pt x="140114" y="23932"/>
                </a:lnTo>
                <a:lnTo>
                  <a:pt x="139807" y="23932"/>
                </a:lnTo>
                <a:lnTo>
                  <a:pt x="140011" y="23318"/>
                </a:lnTo>
                <a:lnTo>
                  <a:pt x="138886" y="24545"/>
                </a:lnTo>
                <a:lnTo>
                  <a:pt x="138375" y="24239"/>
                </a:lnTo>
                <a:lnTo>
                  <a:pt x="134693" y="24750"/>
                </a:lnTo>
                <a:lnTo>
                  <a:pt x="135307" y="25261"/>
                </a:lnTo>
                <a:lnTo>
                  <a:pt x="134795" y="25057"/>
                </a:lnTo>
                <a:lnTo>
                  <a:pt x="134693" y="24750"/>
                </a:lnTo>
                <a:lnTo>
                  <a:pt x="133773" y="24443"/>
                </a:lnTo>
                <a:lnTo>
                  <a:pt x="132852" y="24955"/>
                </a:lnTo>
                <a:lnTo>
                  <a:pt x="131625" y="24443"/>
                </a:lnTo>
                <a:lnTo>
                  <a:pt x="131625" y="24136"/>
                </a:lnTo>
                <a:lnTo>
                  <a:pt x="131318" y="23830"/>
                </a:lnTo>
                <a:lnTo>
                  <a:pt x="131420" y="23420"/>
                </a:lnTo>
                <a:lnTo>
                  <a:pt x="131727" y="23216"/>
                </a:lnTo>
                <a:lnTo>
                  <a:pt x="131625" y="23114"/>
                </a:lnTo>
                <a:lnTo>
                  <a:pt x="132341" y="22500"/>
                </a:lnTo>
                <a:lnTo>
                  <a:pt x="131932" y="22398"/>
                </a:lnTo>
                <a:lnTo>
                  <a:pt x="132034" y="21273"/>
                </a:lnTo>
                <a:lnTo>
                  <a:pt x="132034" y="21273"/>
                </a:lnTo>
                <a:lnTo>
                  <a:pt x="130602" y="21886"/>
                </a:lnTo>
                <a:lnTo>
                  <a:pt x="130602" y="22193"/>
                </a:lnTo>
                <a:lnTo>
                  <a:pt x="131011" y="22295"/>
                </a:lnTo>
                <a:lnTo>
                  <a:pt x="130705" y="22398"/>
                </a:lnTo>
                <a:lnTo>
                  <a:pt x="130295" y="22398"/>
                </a:lnTo>
                <a:lnTo>
                  <a:pt x="130295" y="23318"/>
                </a:lnTo>
                <a:lnTo>
                  <a:pt x="130909" y="24341"/>
                </a:lnTo>
                <a:lnTo>
                  <a:pt x="130807" y="24545"/>
                </a:lnTo>
                <a:lnTo>
                  <a:pt x="131625" y="25261"/>
                </a:lnTo>
                <a:lnTo>
                  <a:pt x="131011" y="25057"/>
                </a:lnTo>
                <a:lnTo>
                  <a:pt x="130705" y="25466"/>
                </a:lnTo>
                <a:lnTo>
                  <a:pt x="128864" y="25466"/>
                </a:lnTo>
                <a:lnTo>
                  <a:pt x="127739" y="26080"/>
                </a:lnTo>
                <a:lnTo>
                  <a:pt x="127432" y="27205"/>
                </a:lnTo>
                <a:lnTo>
                  <a:pt x="127227" y="27205"/>
                </a:lnTo>
                <a:lnTo>
                  <a:pt x="127534" y="27409"/>
                </a:lnTo>
                <a:lnTo>
                  <a:pt x="127534" y="27409"/>
                </a:lnTo>
                <a:lnTo>
                  <a:pt x="126818" y="27307"/>
                </a:lnTo>
                <a:lnTo>
                  <a:pt x="126818" y="27307"/>
                </a:lnTo>
                <a:lnTo>
                  <a:pt x="127432" y="27409"/>
                </a:lnTo>
                <a:lnTo>
                  <a:pt x="125386" y="28023"/>
                </a:lnTo>
                <a:lnTo>
                  <a:pt x="124977" y="28841"/>
                </a:lnTo>
                <a:lnTo>
                  <a:pt x="124261" y="29148"/>
                </a:lnTo>
                <a:lnTo>
                  <a:pt x="124466" y="29352"/>
                </a:lnTo>
                <a:lnTo>
                  <a:pt x="123239" y="29455"/>
                </a:lnTo>
                <a:lnTo>
                  <a:pt x="123136" y="29148"/>
                </a:lnTo>
                <a:lnTo>
                  <a:pt x="122727" y="29352"/>
                </a:lnTo>
                <a:lnTo>
                  <a:pt x="123034" y="30170"/>
                </a:lnTo>
                <a:lnTo>
                  <a:pt x="120375" y="30375"/>
                </a:lnTo>
                <a:lnTo>
                  <a:pt x="120784" y="30477"/>
                </a:lnTo>
                <a:lnTo>
                  <a:pt x="120477" y="30580"/>
                </a:lnTo>
                <a:lnTo>
                  <a:pt x="120682" y="30682"/>
                </a:lnTo>
                <a:lnTo>
                  <a:pt x="120375" y="30784"/>
                </a:lnTo>
                <a:lnTo>
                  <a:pt x="122011" y="31193"/>
                </a:lnTo>
                <a:lnTo>
                  <a:pt x="121909" y="31295"/>
                </a:lnTo>
                <a:lnTo>
                  <a:pt x="122114" y="31295"/>
                </a:lnTo>
                <a:lnTo>
                  <a:pt x="122114" y="31398"/>
                </a:lnTo>
                <a:lnTo>
                  <a:pt x="122727" y="31602"/>
                </a:lnTo>
                <a:lnTo>
                  <a:pt x="122420" y="31705"/>
                </a:lnTo>
                <a:lnTo>
                  <a:pt x="122523" y="32114"/>
                </a:lnTo>
                <a:lnTo>
                  <a:pt x="123239" y="32523"/>
                </a:lnTo>
                <a:lnTo>
                  <a:pt x="123341" y="33136"/>
                </a:lnTo>
                <a:lnTo>
                  <a:pt x="123136" y="33034"/>
                </a:lnTo>
                <a:lnTo>
                  <a:pt x="123750" y="33852"/>
                </a:lnTo>
                <a:lnTo>
                  <a:pt x="123750" y="33852"/>
                </a:lnTo>
                <a:lnTo>
                  <a:pt x="123239" y="33341"/>
                </a:lnTo>
                <a:lnTo>
                  <a:pt x="123136" y="34261"/>
                </a:lnTo>
                <a:lnTo>
                  <a:pt x="123239" y="34159"/>
                </a:lnTo>
                <a:lnTo>
                  <a:pt x="123239" y="34261"/>
                </a:lnTo>
                <a:lnTo>
                  <a:pt x="122830" y="35386"/>
                </a:lnTo>
                <a:lnTo>
                  <a:pt x="117409" y="35284"/>
                </a:lnTo>
                <a:lnTo>
                  <a:pt x="117307" y="35489"/>
                </a:lnTo>
                <a:lnTo>
                  <a:pt x="116898" y="35591"/>
                </a:lnTo>
                <a:lnTo>
                  <a:pt x="116693" y="36307"/>
                </a:lnTo>
                <a:lnTo>
                  <a:pt x="116898" y="36307"/>
                </a:lnTo>
                <a:lnTo>
                  <a:pt x="116898" y="36614"/>
                </a:lnTo>
                <a:lnTo>
                  <a:pt x="117000" y="36614"/>
                </a:lnTo>
                <a:lnTo>
                  <a:pt x="116182" y="40091"/>
                </a:lnTo>
                <a:lnTo>
                  <a:pt x="116795" y="39784"/>
                </a:lnTo>
                <a:lnTo>
                  <a:pt x="116386" y="40295"/>
                </a:lnTo>
                <a:lnTo>
                  <a:pt x="116687" y="40446"/>
                </a:lnTo>
                <a:lnTo>
                  <a:pt x="116687" y="40446"/>
                </a:lnTo>
                <a:lnTo>
                  <a:pt x="116489" y="41932"/>
                </a:lnTo>
                <a:lnTo>
                  <a:pt x="118330" y="41625"/>
                </a:lnTo>
                <a:lnTo>
                  <a:pt x="118739" y="42136"/>
                </a:lnTo>
                <a:lnTo>
                  <a:pt x="118841" y="42034"/>
                </a:lnTo>
                <a:lnTo>
                  <a:pt x="119455" y="42955"/>
                </a:lnTo>
                <a:lnTo>
                  <a:pt x="122420" y="42034"/>
                </a:lnTo>
                <a:lnTo>
                  <a:pt x="122727" y="41625"/>
                </a:lnTo>
                <a:lnTo>
                  <a:pt x="123545" y="41318"/>
                </a:lnTo>
                <a:lnTo>
                  <a:pt x="123852" y="40500"/>
                </a:lnTo>
                <a:lnTo>
                  <a:pt x="124261" y="40193"/>
                </a:lnTo>
                <a:lnTo>
                  <a:pt x="123955" y="39784"/>
                </a:lnTo>
                <a:lnTo>
                  <a:pt x="124773" y="38045"/>
                </a:lnTo>
                <a:lnTo>
                  <a:pt x="126818" y="36920"/>
                </a:lnTo>
                <a:lnTo>
                  <a:pt x="126818" y="35693"/>
                </a:lnTo>
                <a:lnTo>
                  <a:pt x="129682" y="35591"/>
                </a:lnTo>
                <a:lnTo>
                  <a:pt x="131318" y="34466"/>
                </a:lnTo>
                <a:lnTo>
                  <a:pt x="136943" y="38864"/>
                </a:lnTo>
                <a:lnTo>
                  <a:pt x="137250" y="38864"/>
                </a:lnTo>
                <a:lnTo>
                  <a:pt x="137761" y="40091"/>
                </a:lnTo>
                <a:lnTo>
                  <a:pt x="137557" y="40193"/>
                </a:lnTo>
                <a:lnTo>
                  <a:pt x="137352" y="40807"/>
                </a:lnTo>
                <a:lnTo>
                  <a:pt x="137761" y="41011"/>
                </a:lnTo>
                <a:lnTo>
                  <a:pt x="138170" y="39989"/>
                </a:lnTo>
                <a:lnTo>
                  <a:pt x="138580" y="39886"/>
                </a:lnTo>
                <a:lnTo>
                  <a:pt x="138477" y="39375"/>
                </a:lnTo>
                <a:lnTo>
                  <a:pt x="138068" y="39170"/>
                </a:lnTo>
                <a:lnTo>
                  <a:pt x="138375" y="38455"/>
                </a:lnTo>
                <a:lnTo>
                  <a:pt x="139602" y="38966"/>
                </a:lnTo>
                <a:lnTo>
                  <a:pt x="137455" y="37432"/>
                </a:lnTo>
                <a:lnTo>
                  <a:pt x="137557" y="37023"/>
                </a:lnTo>
                <a:lnTo>
                  <a:pt x="136432" y="36818"/>
                </a:lnTo>
                <a:lnTo>
                  <a:pt x="134182" y="34057"/>
                </a:lnTo>
                <a:lnTo>
                  <a:pt x="134284" y="33341"/>
                </a:lnTo>
                <a:lnTo>
                  <a:pt x="135307" y="33239"/>
                </a:lnTo>
                <a:lnTo>
                  <a:pt x="135205" y="33750"/>
                </a:lnTo>
                <a:lnTo>
                  <a:pt x="135716" y="33750"/>
                </a:lnTo>
                <a:lnTo>
                  <a:pt x="135818" y="33545"/>
                </a:lnTo>
                <a:lnTo>
                  <a:pt x="136841" y="34670"/>
                </a:lnTo>
                <a:lnTo>
                  <a:pt x="136534" y="34670"/>
                </a:lnTo>
                <a:lnTo>
                  <a:pt x="138784" y="36102"/>
                </a:lnTo>
                <a:lnTo>
                  <a:pt x="138170" y="35898"/>
                </a:lnTo>
                <a:lnTo>
                  <a:pt x="140420" y="37330"/>
                </a:lnTo>
                <a:lnTo>
                  <a:pt x="140420" y="38557"/>
                </a:lnTo>
                <a:lnTo>
                  <a:pt x="140318" y="38557"/>
                </a:lnTo>
                <a:lnTo>
                  <a:pt x="141955" y="39989"/>
                </a:lnTo>
                <a:lnTo>
                  <a:pt x="141648" y="39989"/>
                </a:lnTo>
                <a:lnTo>
                  <a:pt x="141955" y="40398"/>
                </a:lnTo>
                <a:lnTo>
                  <a:pt x="143080" y="40500"/>
                </a:lnTo>
                <a:lnTo>
                  <a:pt x="143489" y="40807"/>
                </a:lnTo>
                <a:lnTo>
                  <a:pt x="143489" y="40909"/>
                </a:lnTo>
                <a:lnTo>
                  <a:pt x="142159" y="40909"/>
                </a:lnTo>
                <a:lnTo>
                  <a:pt x="142773" y="42239"/>
                </a:lnTo>
                <a:lnTo>
                  <a:pt x="143284" y="42545"/>
                </a:lnTo>
                <a:lnTo>
                  <a:pt x="143898" y="42545"/>
                </a:lnTo>
                <a:lnTo>
                  <a:pt x="143489" y="41318"/>
                </a:lnTo>
                <a:lnTo>
                  <a:pt x="144102" y="41523"/>
                </a:lnTo>
                <a:lnTo>
                  <a:pt x="144102" y="41523"/>
                </a:lnTo>
                <a:lnTo>
                  <a:pt x="143591" y="41011"/>
                </a:lnTo>
                <a:lnTo>
                  <a:pt x="144205" y="41011"/>
                </a:lnTo>
                <a:lnTo>
                  <a:pt x="144409" y="40807"/>
                </a:lnTo>
                <a:lnTo>
                  <a:pt x="143182" y="39989"/>
                </a:lnTo>
                <a:lnTo>
                  <a:pt x="143591" y="39784"/>
                </a:lnTo>
                <a:lnTo>
                  <a:pt x="143386" y="39682"/>
                </a:lnTo>
                <a:lnTo>
                  <a:pt x="143591" y="39580"/>
                </a:lnTo>
                <a:lnTo>
                  <a:pt x="143693" y="39784"/>
                </a:lnTo>
                <a:lnTo>
                  <a:pt x="143591" y="39477"/>
                </a:lnTo>
                <a:lnTo>
                  <a:pt x="143080" y="38761"/>
                </a:lnTo>
                <a:lnTo>
                  <a:pt x="143284" y="38352"/>
                </a:lnTo>
                <a:lnTo>
                  <a:pt x="143740" y="38678"/>
                </a:lnTo>
                <a:lnTo>
                  <a:pt x="143740" y="38678"/>
                </a:lnTo>
                <a:lnTo>
                  <a:pt x="144205" y="38864"/>
                </a:lnTo>
                <a:lnTo>
                  <a:pt x="144102" y="38557"/>
                </a:lnTo>
                <a:lnTo>
                  <a:pt x="144511" y="38761"/>
                </a:lnTo>
                <a:lnTo>
                  <a:pt x="144000" y="38250"/>
                </a:lnTo>
                <a:lnTo>
                  <a:pt x="145636" y="38045"/>
                </a:lnTo>
                <a:lnTo>
                  <a:pt x="145943" y="38250"/>
                </a:lnTo>
                <a:lnTo>
                  <a:pt x="146557" y="38250"/>
                </a:lnTo>
                <a:lnTo>
                  <a:pt x="146045" y="38864"/>
                </a:lnTo>
                <a:lnTo>
                  <a:pt x="146864" y="39989"/>
                </a:lnTo>
                <a:lnTo>
                  <a:pt x="146761" y="40295"/>
                </a:lnTo>
                <a:lnTo>
                  <a:pt x="147068" y="40398"/>
                </a:lnTo>
                <a:lnTo>
                  <a:pt x="146659" y="40602"/>
                </a:lnTo>
                <a:lnTo>
                  <a:pt x="146455" y="40295"/>
                </a:lnTo>
                <a:lnTo>
                  <a:pt x="146352" y="40705"/>
                </a:lnTo>
                <a:lnTo>
                  <a:pt x="146864" y="40807"/>
                </a:lnTo>
                <a:lnTo>
                  <a:pt x="147477" y="41727"/>
                </a:lnTo>
                <a:lnTo>
                  <a:pt x="147375" y="41830"/>
                </a:lnTo>
                <a:lnTo>
                  <a:pt x="147273" y="41932"/>
                </a:lnTo>
                <a:lnTo>
                  <a:pt x="148091" y="41932"/>
                </a:lnTo>
                <a:lnTo>
                  <a:pt x="147477" y="42239"/>
                </a:lnTo>
                <a:lnTo>
                  <a:pt x="147989" y="42239"/>
                </a:lnTo>
                <a:lnTo>
                  <a:pt x="147989" y="42341"/>
                </a:lnTo>
                <a:lnTo>
                  <a:pt x="148602" y="42239"/>
                </a:lnTo>
                <a:lnTo>
                  <a:pt x="149523" y="42852"/>
                </a:lnTo>
                <a:lnTo>
                  <a:pt x="150136" y="42648"/>
                </a:lnTo>
                <a:lnTo>
                  <a:pt x="150341" y="42136"/>
                </a:lnTo>
                <a:lnTo>
                  <a:pt x="152080" y="42955"/>
                </a:lnTo>
                <a:lnTo>
                  <a:pt x="152898" y="42852"/>
                </a:lnTo>
                <a:lnTo>
                  <a:pt x="153511" y="42239"/>
                </a:lnTo>
                <a:lnTo>
                  <a:pt x="154227" y="42443"/>
                </a:lnTo>
                <a:lnTo>
                  <a:pt x="154636" y="42136"/>
                </a:lnTo>
                <a:lnTo>
                  <a:pt x="154023" y="47659"/>
                </a:lnTo>
                <a:lnTo>
                  <a:pt x="152489" y="48068"/>
                </a:lnTo>
                <a:lnTo>
                  <a:pt x="152080" y="47864"/>
                </a:lnTo>
                <a:lnTo>
                  <a:pt x="151773" y="47864"/>
                </a:lnTo>
                <a:lnTo>
                  <a:pt x="151773" y="47761"/>
                </a:lnTo>
                <a:lnTo>
                  <a:pt x="151261" y="47557"/>
                </a:lnTo>
                <a:lnTo>
                  <a:pt x="150648" y="47761"/>
                </a:lnTo>
                <a:lnTo>
                  <a:pt x="150955" y="47557"/>
                </a:lnTo>
                <a:lnTo>
                  <a:pt x="150955" y="47557"/>
                </a:lnTo>
                <a:lnTo>
                  <a:pt x="149114" y="48170"/>
                </a:lnTo>
                <a:lnTo>
                  <a:pt x="146148" y="47659"/>
                </a:lnTo>
                <a:lnTo>
                  <a:pt x="145739" y="47148"/>
                </a:lnTo>
                <a:lnTo>
                  <a:pt x="144102" y="46739"/>
                </a:lnTo>
                <a:lnTo>
                  <a:pt x="144000" y="46432"/>
                </a:lnTo>
                <a:lnTo>
                  <a:pt x="143489" y="46227"/>
                </a:lnTo>
                <a:lnTo>
                  <a:pt x="141955" y="46534"/>
                </a:lnTo>
                <a:lnTo>
                  <a:pt x="141443" y="47250"/>
                </a:lnTo>
                <a:lnTo>
                  <a:pt x="141648" y="48170"/>
                </a:lnTo>
                <a:lnTo>
                  <a:pt x="140114" y="48580"/>
                </a:lnTo>
                <a:lnTo>
                  <a:pt x="133773" y="45818"/>
                </a:lnTo>
                <a:lnTo>
                  <a:pt x="133875" y="45818"/>
                </a:lnTo>
                <a:lnTo>
                  <a:pt x="132750" y="44898"/>
                </a:lnTo>
                <a:lnTo>
                  <a:pt x="133568" y="43670"/>
                </a:lnTo>
                <a:lnTo>
                  <a:pt x="133159" y="43057"/>
                </a:lnTo>
                <a:lnTo>
                  <a:pt x="133466" y="41932"/>
                </a:lnTo>
                <a:lnTo>
                  <a:pt x="132852" y="42136"/>
                </a:lnTo>
                <a:lnTo>
                  <a:pt x="132852" y="41830"/>
                </a:lnTo>
                <a:lnTo>
                  <a:pt x="132545" y="41727"/>
                </a:lnTo>
                <a:lnTo>
                  <a:pt x="132545" y="41625"/>
                </a:lnTo>
                <a:lnTo>
                  <a:pt x="130807" y="42136"/>
                </a:lnTo>
                <a:lnTo>
                  <a:pt x="130295" y="41830"/>
                </a:lnTo>
                <a:lnTo>
                  <a:pt x="122318" y="43977"/>
                </a:lnTo>
                <a:lnTo>
                  <a:pt x="121602" y="43670"/>
                </a:lnTo>
                <a:lnTo>
                  <a:pt x="120477" y="43875"/>
                </a:lnTo>
                <a:lnTo>
                  <a:pt x="119659" y="43057"/>
                </a:lnTo>
                <a:lnTo>
                  <a:pt x="115568" y="48477"/>
                </a:lnTo>
                <a:lnTo>
                  <a:pt x="115773" y="48784"/>
                </a:lnTo>
                <a:lnTo>
                  <a:pt x="114034" y="50932"/>
                </a:lnTo>
                <a:lnTo>
                  <a:pt x="112909" y="51239"/>
                </a:lnTo>
                <a:lnTo>
                  <a:pt x="109943" y="55739"/>
                </a:lnTo>
                <a:lnTo>
                  <a:pt x="109943" y="55739"/>
                </a:lnTo>
                <a:lnTo>
                  <a:pt x="110148" y="55534"/>
                </a:lnTo>
                <a:lnTo>
                  <a:pt x="110148" y="55534"/>
                </a:lnTo>
                <a:lnTo>
                  <a:pt x="108920" y="58602"/>
                </a:lnTo>
                <a:lnTo>
                  <a:pt x="109432" y="58807"/>
                </a:lnTo>
                <a:lnTo>
                  <a:pt x="109432" y="60034"/>
                </a:lnTo>
                <a:lnTo>
                  <a:pt x="109636" y="59932"/>
                </a:lnTo>
                <a:lnTo>
                  <a:pt x="109330" y="63716"/>
                </a:lnTo>
                <a:lnTo>
                  <a:pt x="108409" y="64841"/>
                </a:lnTo>
                <a:lnTo>
                  <a:pt x="109023" y="65659"/>
                </a:lnTo>
                <a:lnTo>
                  <a:pt x="109227" y="65557"/>
                </a:lnTo>
                <a:lnTo>
                  <a:pt x="109227" y="66170"/>
                </a:lnTo>
                <a:lnTo>
                  <a:pt x="110250" y="66170"/>
                </a:lnTo>
                <a:lnTo>
                  <a:pt x="109330" y="66375"/>
                </a:lnTo>
                <a:lnTo>
                  <a:pt x="109227" y="66273"/>
                </a:lnTo>
                <a:lnTo>
                  <a:pt x="109023" y="67091"/>
                </a:lnTo>
                <a:lnTo>
                  <a:pt x="109023" y="67091"/>
                </a:lnTo>
                <a:lnTo>
                  <a:pt x="109227" y="66989"/>
                </a:lnTo>
                <a:lnTo>
                  <a:pt x="109739" y="67909"/>
                </a:lnTo>
                <a:lnTo>
                  <a:pt x="110557" y="67705"/>
                </a:lnTo>
                <a:lnTo>
                  <a:pt x="110557" y="67705"/>
                </a:lnTo>
                <a:lnTo>
                  <a:pt x="110148" y="67909"/>
                </a:lnTo>
                <a:lnTo>
                  <a:pt x="110557" y="68114"/>
                </a:lnTo>
                <a:lnTo>
                  <a:pt x="110148" y="68318"/>
                </a:lnTo>
                <a:lnTo>
                  <a:pt x="110250" y="68318"/>
                </a:lnTo>
                <a:lnTo>
                  <a:pt x="110455" y="68523"/>
                </a:lnTo>
                <a:lnTo>
                  <a:pt x="110352" y="68727"/>
                </a:lnTo>
                <a:lnTo>
                  <a:pt x="110557" y="68625"/>
                </a:lnTo>
                <a:lnTo>
                  <a:pt x="110659" y="68932"/>
                </a:lnTo>
                <a:lnTo>
                  <a:pt x="110864" y="69034"/>
                </a:lnTo>
                <a:lnTo>
                  <a:pt x="110966" y="68932"/>
                </a:lnTo>
                <a:lnTo>
                  <a:pt x="111375" y="69648"/>
                </a:lnTo>
                <a:lnTo>
                  <a:pt x="111784" y="69852"/>
                </a:lnTo>
                <a:lnTo>
                  <a:pt x="111784" y="70261"/>
                </a:lnTo>
                <a:lnTo>
                  <a:pt x="112295" y="70875"/>
                </a:lnTo>
                <a:lnTo>
                  <a:pt x="112193" y="71182"/>
                </a:lnTo>
                <a:lnTo>
                  <a:pt x="112500" y="71182"/>
                </a:lnTo>
                <a:lnTo>
                  <a:pt x="112193" y="71284"/>
                </a:lnTo>
                <a:lnTo>
                  <a:pt x="117511" y="75477"/>
                </a:lnTo>
                <a:lnTo>
                  <a:pt x="119557" y="74761"/>
                </a:lnTo>
                <a:lnTo>
                  <a:pt x="119250" y="74761"/>
                </a:lnTo>
                <a:lnTo>
                  <a:pt x="120477" y="74659"/>
                </a:lnTo>
                <a:lnTo>
                  <a:pt x="119966" y="74659"/>
                </a:lnTo>
                <a:lnTo>
                  <a:pt x="121295" y="74557"/>
                </a:lnTo>
                <a:lnTo>
                  <a:pt x="121398" y="74761"/>
                </a:lnTo>
                <a:lnTo>
                  <a:pt x="127534" y="73227"/>
                </a:lnTo>
                <a:lnTo>
                  <a:pt x="127330" y="73432"/>
                </a:lnTo>
                <a:lnTo>
                  <a:pt x="129170" y="74455"/>
                </a:lnTo>
                <a:lnTo>
                  <a:pt x="129170" y="74761"/>
                </a:lnTo>
                <a:lnTo>
                  <a:pt x="129068" y="74761"/>
                </a:lnTo>
                <a:lnTo>
                  <a:pt x="129886" y="75477"/>
                </a:lnTo>
                <a:lnTo>
                  <a:pt x="130091" y="75477"/>
                </a:lnTo>
                <a:lnTo>
                  <a:pt x="130398" y="75580"/>
                </a:lnTo>
                <a:lnTo>
                  <a:pt x="130295" y="75170"/>
                </a:lnTo>
                <a:lnTo>
                  <a:pt x="130398" y="75477"/>
                </a:lnTo>
                <a:lnTo>
                  <a:pt x="130602" y="75170"/>
                </a:lnTo>
                <a:lnTo>
                  <a:pt x="131420" y="75375"/>
                </a:lnTo>
                <a:lnTo>
                  <a:pt x="131625" y="74966"/>
                </a:lnTo>
                <a:lnTo>
                  <a:pt x="132341" y="75784"/>
                </a:lnTo>
                <a:lnTo>
                  <a:pt x="132955" y="75886"/>
                </a:lnTo>
                <a:lnTo>
                  <a:pt x="132852" y="79466"/>
                </a:lnTo>
                <a:lnTo>
                  <a:pt x="132648" y="79568"/>
                </a:lnTo>
                <a:lnTo>
                  <a:pt x="133261" y="79875"/>
                </a:lnTo>
                <a:lnTo>
                  <a:pt x="133057" y="79977"/>
                </a:lnTo>
                <a:lnTo>
                  <a:pt x="132648" y="79670"/>
                </a:lnTo>
                <a:lnTo>
                  <a:pt x="132443" y="80591"/>
                </a:lnTo>
                <a:lnTo>
                  <a:pt x="132034" y="80693"/>
                </a:lnTo>
                <a:lnTo>
                  <a:pt x="132852" y="81716"/>
                </a:lnTo>
                <a:lnTo>
                  <a:pt x="132852" y="81716"/>
                </a:lnTo>
                <a:lnTo>
                  <a:pt x="132341" y="81409"/>
                </a:lnTo>
                <a:lnTo>
                  <a:pt x="132750" y="82023"/>
                </a:lnTo>
                <a:lnTo>
                  <a:pt x="132648" y="82023"/>
                </a:lnTo>
                <a:lnTo>
                  <a:pt x="133261" y="82636"/>
                </a:lnTo>
                <a:lnTo>
                  <a:pt x="132955" y="82534"/>
                </a:lnTo>
                <a:lnTo>
                  <a:pt x="135205" y="85909"/>
                </a:lnTo>
                <a:lnTo>
                  <a:pt x="136023" y="86114"/>
                </a:lnTo>
                <a:lnTo>
                  <a:pt x="135307" y="86318"/>
                </a:lnTo>
                <a:lnTo>
                  <a:pt x="135920" y="89284"/>
                </a:lnTo>
                <a:lnTo>
                  <a:pt x="136023" y="89182"/>
                </a:lnTo>
                <a:lnTo>
                  <a:pt x="136432" y="92557"/>
                </a:lnTo>
                <a:lnTo>
                  <a:pt x="134795" y="96648"/>
                </a:lnTo>
                <a:lnTo>
                  <a:pt x="137045" y="103602"/>
                </a:lnTo>
                <a:lnTo>
                  <a:pt x="136943" y="103602"/>
                </a:lnTo>
                <a:lnTo>
                  <a:pt x="140011" y="115364"/>
                </a:lnTo>
                <a:lnTo>
                  <a:pt x="146148" y="114955"/>
                </a:lnTo>
                <a:lnTo>
                  <a:pt x="146557" y="114648"/>
                </a:lnTo>
                <a:lnTo>
                  <a:pt x="147068" y="114648"/>
                </a:lnTo>
                <a:lnTo>
                  <a:pt x="152693" y="109125"/>
                </a:lnTo>
                <a:lnTo>
                  <a:pt x="153205" y="106977"/>
                </a:lnTo>
                <a:lnTo>
                  <a:pt x="153102" y="107080"/>
                </a:lnTo>
                <a:lnTo>
                  <a:pt x="153205" y="106875"/>
                </a:lnTo>
                <a:lnTo>
                  <a:pt x="153205" y="106977"/>
                </a:lnTo>
                <a:lnTo>
                  <a:pt x="155659" y="104523"/>
                </a:lnTo>
                <a:lnTo>
                  <a:pt x="155659" y="102784"/>
                </a:lnTo>
                <a:lnTo>
                  <a:pt x="155557" y="103091"/>
                </a:lnTo>
                <a:lnTo>
                  <a:pt x="155045" y="100330"/>
                </a:lnTo>
                <a:lnTo>
                  <a:pt x="160670" y="95932"/>
                </a:lnTo>
                <a:lnTo>
                  <a:pt x="160875" y="91125"/>
                </a:lnTo>
                <a:lnTo>
                  <a:pt x="160057" y="90307"/>
                </a:lnTo>
                <a:lnTo>
                  <a:pt x="159955" y="87136"/>
                </a:lnTo>
                <a:lnTo>
                  <a:pt x="159341" y="86523"/>
                </a:lnTo>
                <a:lnTo>
                  <a:pt x="161284" y="82125"/>
                </a:lnTo>
                <a:lnTo>
                  <a:pt x="161693" y="82023"/>
                </a:lnTo>
                <a:lnTo>
                  <a:pt x="170591" y="69341"/>
                </a:lnTo>
                <a:lnTo>
                  <a:pt x="170386" y="69136"/>
                </a:lnTo>
                <a:lnTo>
                  <a:pt x="170284" y="69341"/>
                </a:lnTo>
                <a:lnTo>
                  <a:pt x="170182" y="67807"/>
                </a:lnTo>
                <a:lnTo>
                  <a:pt x="164557" y="69341"/>
                </a:lnTo>
                <a:lnTo>
                  <a:pt x="162511" y="68114"/>
                </a:lnTo>
                <a:lnTo>
                  <a:pt x="163330" y="67602"/>
                </a:lnTo>
                <a:lnTo>
                  <a:pt x="162920" y="66784"/>
                </a:lnTo>
                <a:lnTo>
                  <a:pt x="162920" y="66886"/>
                </a:lnTo>
                <a:lnTo>
                  <a:pt x="159955" y="64125"/>
                </a:lnTo>
                <a:lnTo>
                  <a:pt x="159955" y="64534"/>
                </a:lnTo>
                <a:lnTo>
                  <a:pt x="157193" y="58295"/>
                </a:lnTo>
                <a:lnTo>
                  <a:pt x="157193" y="58295"/>
                </a:lnTo>
                <a:lnTo>
                  <a:pt x="157295" y="58398"/>
                </a:lnTo>
                <a:lnTo>
                  <a:pt x="156375" y="56761"/>
                </a:lnTo>
                <a:lnTo>
                  <a:pt x="155966" y="56557"/>
                </a:lnTo>
                <a:lnTo>
                  <a:pt x="155659" y="56148"/>
                </a:lnTo>
                <a:lnTo>
                  <a:pt x="155864" y="55432"/>
                </a:lnTo>
                <a:lnTo>
                  <a:pt x="152591" y="49193"/>
                </a:lnTo>
                <a:lnTo>
                  <a:pt x="152591" y="49193"/>
                </a:lnTo>
                <a:lnTo>
                  <a:pt x="153716" y="51136"/>
                </a:lnTo>
                <a:lnTo>
                  <a:pt x="154330" y="50830"/>
                </a:lnTo>
                <a:lnTo>
                  <a:pt x="154739" y="49602"/>
                </a:lnTo>
                <a:lnTo>
                  <a:pt x="154534" y="51136"/>
                </a:lnTo>
                <a:lnTo>
                  <a:pt x="158727" y="56557"/>
                </a:lnTo>
                <a:lnTo>
                  <a:pt x="158625" y="56557"/>
                </a:lnTo>
                <a:lnTo>
                  <a:pt x="162614" y="64330"/>
                </a:lnTo>
                <a:lnTo>
                  <a:pt x="162511" y="64227"/>
                </a:lnTo>
                <a:lnTo>
                  <a:pt x="162511" y="64227"/>
                </a:lnTo>
                <a:lnTo>
                  <a:pt x="163330" y="66989"/>
                </a:lnTo>
                <a:lnTo>
                  <a:pt x="171102" y="63818"/>
                </a:lnTo>
                <a:lnTo>
                  <a:pt x="171102" y="63409"/>
                </a:lnTo>
                <a:lnTo>
                  <a:pt x="173557" y="62489"/>
                </a:lnTo>
                <a:lnTo>
                  <a:pt x="173659" y="61977"/>
                </a:lnTo>
                <a:lnTo>
                  <a:pt x="174580" y="61568"/>
                </a:lnTo>
                <a:lnTo>
                  <a:pt x="174989" y="60750"/>
                </a:lnTo>
                <a:lnTo>
                  <a:pt x="175807" y="60443"/>
                </a:lnTo>
                <a:lnTo>
                  <a:pt x="175705" y="59625"/>
                </a:lnTo>
                <a:lnTo>
                  <a:pt x="176114" y="58807"/>
                </a:lnTo>
                <a:lnTo>
                  <a:pt x="176216" y="59114"/>
                </a:lnTo>
                <a:lnTo>
                  <a:pt x="177341" y="57170"/>
                </a:lnTo>
                <a:lnTo>
                  <a:pt x="174273" y="54920"/>
                </a:lnTo>
                <a:lnTo>
                  <a:pt x="173864" y="52977"/>
                </a:lnTo>
                <a:lnTo>
                  <a:pt x="172330" y="55023"/>
                </a:lnTo>
                <a:lnTo>
                  <a:pt x="170080" y="55330"/>
                </a:lnTo>
                <a:lnTo>
                  <a:pt x="169875" y="55023"/>
                </a:lnTo>
                <a:lnTo>
                  <a:pt x="169568" y="55023"/>
                </a:lnTo>
                <a:lnTo>
                  <a:pt x="169670" y="54818"/>
                </a:lnTo>
                <a:lnTo>
                  <a:pt x="169466" y="54716"/>
                </a:lnTo>
                <a:lnTo>
                  <a:pt x="169670" y="54000"/>
                </a:lnTo>
                <a:lnTo>
                  <a:pt x="169466" y="53284"/>
                </a:lnTo>
                <a:lnTo>
                  <a:pt x="169057" y="53795"/>
                </a:lnTo>
                <a:lnTo>
                  <a:pt x="169057" y="54511"/>
                </a:lnTo>
                <a:lnTo>
                  <a:pt x="168239" y="53182"/>
                </a:lnTo>
                <a:lnTo>
                  <a:pt x="168341" y="53182"/>
                </a:lnTo>
                <a:lnTo>
                  <a:pt x="168239" y="52568"/>
                </a:lnTo>
                <a:lnTo>
                  <a:pt x="168341" y="52568"/>
                </a:lnTo>
                <a:lnTo>
                  <a:pt x="165886" y="49807"/>
                </a:lnTo>
                <a:lnTo>
                  <a:pt x="166193" y="49602"/>
                </a:lnTo>
                <a:lnTo>
                  <a:pt x="165989" y="49193"/>
                </a:lnTo>
                <a:lnTo>
                  <a:pt x="166398" y="49295"/>
                </a:lnTo>
                <a:lnTo>
                  <a:pt x="166807" y="48682"/>
                </a:lnTo>
                <a:lnTo>
                  <a:pt x="166807" y="48784"/>
                </a:lnTo>
                <a:lnTo>
                  <a:pt x="171409" y="52568"/>
                </a:lnTo>
                <a:lnTo>
                  <a:pt x="172943" y="52466"/>
                </a:lnTo>
                <a:lnTo>
                  <a:pt x="173557" y="52057"/>
                </a:lnTo>
                <a:lnTo>
                  <a:pt x="174273" y="52364"/>
                </a:lnTo>
                <a:lnTo>
                  <a:pt x="174580" y="53182"/>
                </a:lnTo>
                <a:lnTo>
                  <a:pt x="177545" y="54000"/>
                </a:lnTo>
                <a:lnTo>
                  <a:pt x="177648" y="53898"/>
                </a:lnTo>
                <a:lnTo>
                  <a:pt x="177750" y="54000"/>
                </a:lnTo>
                <a:lnTo>
                  <a:pt x="182761" y="53898"/>
                </a:lnTo>
                <a:lnTo>
                  <a:pt x="182557" y="53795"/>
                </a:lnTo>
                <a:lnTo>
                  <a:pt x="182557" y="53795"/>
                </a:lnTo>
                <a:lnTo>
                  <a:pt x="182864" y="53898"/>
                </a:lnTo>
                <a:lnTo>
                  <a:pt x="182966" y="53898"/>
                </a:lnTo>
                <a:lnTo>
                  <a:pt x="184091" y="55432"/>
                </a:lnTo>
                <a:lnTo>
                  <a:pt x="184500" y="55636"/>
                </a:lnTo>
                <a:lnTo>
                  <a:pt x="184500" y="55534"/>
                </a:lnTo>
                <a:lnTo>
                  <a:pt x="185114" y="55534"/>
                </a:lnTo>
                <a:lnTo>
                  <a:pt x="184909" y="56045"/>
                </a:lnTo>
                <a:lnTo>
                  <a:pt x="185727" y="56557"/>
                </a:lnTo>
                <a:lnTo>
                  <a:pt x="186750" y="56250"/>
                </a:lnTo>
                <a:lnTo>
                  <a:pt x="185727" y="57068"/>
                </a:lnTo>
                <a:lnTo>
                  <a:pt x="185420" y="57068"/>
                </a:lnTo>
                <a:lnTo>
                  <a:pt x="187568" y="58602"/>
                </a:lnTo>
                <a:lnTo>
                  <a:pt x="188386" y="58193"/>
                </a:lnTo>
                <a:lnTo>
                  <a:pt x="188284" y="57170"/>
                </a:lnTo>
                <a:lnTo>
                  <a:pt x="188898" y="57170"/>
                </a:lnTo>
                <a:lnTo>
                  <a:pt x="188693" y="57682"/>
                </a:lnTo>
                <a:lnTo>
                  <a:pt x="189205" y="57682"/>
                </a:lnTo>
                <a:lnTo>
                  <a:pt x="188795" y="57989"/>
                </a:lnTo>
                <a:lnTo>
                  <a:pt x="188898" y="57989"/>
                </a:lnTo>
                <a:lnTo>
                  <a:pt x="189307" y="60239"/>
                </a:lnTo>
                <a:lnTo>
                  <a:pt x="189205" y="60239"/>
                </a:lnTo>
                <a:lnTo>
                  <a:pt x="189205" y="60545"/>
                </a:lnTo>
                <a:lnTo>
                  <a:pt x="189307" y="60341"/>
                </a:lnTo>
                <a:lnTo>
                  <a:pt x="190636" y="64227"/>
                </a:lnTo>
                <a:lnTo>
                  <a:pt x="190534" y="64227"/>
                </a:lnTo>
                <a:lnTo>
                  <a:pt x="193160" y="69965"/>
                </a:lnTo>
                <a:lnTo>
                  <a:pt x="194216" y="71693"/>
                </a:lnTo>
                <a:lnTo>
                  <a:pt x="195955" y="70568"/>
                </a:lnTo>
                <a:lnTo>
                  <a:pt x="195545" y="70261"/>
                </a:lnTo>
                <a:lnTo>
                  <a:pt x="195852" y="69443"/>
                </a:lnTo>
                <a:lnTo>
                  <a:pt x="196364" y="69239"/>
                </a:lnTo>
                <a:lnTo>
                  <a:pt x="196568" y="66375"/>
                </a:lnTo>
                <a:lnTo>
                  <a:pt x="196466" y="66170"/>
                </a:lnTo>
                <a:lnTo>
                  <a:pt x="196261" y="63920"/>
                </a:lnTo>
                <a:lnTo>
                  <a:pt x="196875" y="63818"/>
                </a:lnTo>
                <a:lnTo>
                  <a:pt x="200455" y="59830"/>
                </a:lnTo>
                <a:lnTo>
                  <a:pt x="200250" y="59932"/>
                </a:lnTo>
                <a:lnTo>
                  <a:pt x="200250" y="59932"/>
                </a:lnTo>
                <a:lnTo>
                  <a:pt x="201580" y="58705"/>
                </a:lnTo>
                <a:lnTo>
                  <a:pt x="201477" y="58091"/>
                </a:lnTo>
                <a:lnTo>
                  <a:pt x="202398" y="57580"/>
                </a:lnTo>
                <a:lnTo>
                  <a:pt x="202295" y="57068"/>
                </a:lnTo>
                <a:lnTo>
                  <a:pt x="202500" y="57580"/>
                </a:lnTo>
                <a:lnTo>
                  <a:pt x="202705" y="57682"/>
                </a:lnTo>
                <a:lnTo>
                  <a:pt x="202909" y="57273"/>
                </a:lnTo>
                <a:lnTo>
                  <a:pt x="203114" y="57886"/>
                </a:lnTo>
                <a:lnTo>
                  <a:pt x="203216" y="57682"/>
                </a:lnTo>
                <a:lnTo>
                  <a:pt x="203420" y="57784"/>
                </a:lnTo>
                <a:lnTo>
                  <a:pt x="203420" y="57784"/>
                </a:lnTo>
                <a:lnTo>
                  <a:pt x="203216" y="57477"/>
                </a:lnTo>
                <a:lnTo>
                  <a:pt x="203318" y="57273"/>
                </a:lnTo>
                <a:lnTo>
                  <a:pt x="203625" y="57682"/>
                </a:lnTo>
                <a:lnTo>
                  <a:pt x="203625" y="57170"/>
                </a:lnTo>
                <a:lnTo>
                  <a:pt x="203830" y="57682"/>
                </a:lnTo>
                <a:lnTo>
                  <a:pt x="204136" y="56966"/>
                </a:lnTo>
                <a:lnTo>
                  <a:pt x="204136" y="57375"/>
                </a:lnTo>
                <a:lnTo>
                  <a:pt x="204341" y="57273"/>
                </a:lnTo>
                <a:lnTo>
                  <a:pt x="204341" y="57580"/>
                </a:lnTo>
                <a:lnTo>
                  <a:pt x="204648" y="57170"/>
                </a:lnTo>
                <a:lnTo>
                  <a:pt x="204545" y="56250"/>
                </a:lnTo>
                <a:lnTo>
                  <a:pt x="204239" y="55943"/>
                </a:lnTo>
                <a:lnTo>
                  <a:pt x="204443" y="55943"/>
                </a:lnTo>
                <a:lnTo>
                  <a:pt x="204443" y="55739"/>
                </a:lnTo>
                <a:lnTo>
                  <a:pt x="205773" y="57068"/>
                </a:lnTo>
                <a:lnTo>
                  <a:pt x="206795" y="59216"/>
                </a:lnTo>
                <a:lnTo>
                  <a:pt x="206795" y="58909"/>
                </a:lnTo>
                <a:lnTo>
                  <a:pt x="207102" y="59011"/>
                </a:lnTo>
                <a:lnTo>
                  <a:pt x="207307" y="59625"/>
                </a:lnTo>
                <a:lnTo>
                  <a:pt x="207307" y="59420"/>
                </a:lnTo>
                <a:lnTo>
                  <a:pt x="207818" y="59523"/>
                </a:lnTo>
                <a:lnTo>
                  <a:pt x="208125" y="60136"/>
                </a:lnTo>
                <a:lnTo>
                  <a:pt x="207716" y="60136"/>
                </a:lnTo>
                <a:lnTo>
                  <a:pt x="208125" y="60648"/>
                </a:lnTo>
                <a:lnTo>
                  <a:pt x="208125" y="60239"/>
                </a:lnTo>
                <a:lnTo>
                  <a:pt x="208432" y="60750"/>
                </a:lnTo>
                <a:lnTo>
                  <a:pt x="208330" y="60750"/>
                </a:lnTo>
                <a:lnTo>
                  <a:pt x="208739" y="63614"/>
                </a:lnTo>
                <a:lnTo>
                  <a:pt x="209148" y="63102"/>
                </a:lnTo>
                <a:lnTo>
                  <a:pt x="209148" y="63716"/>
                </a:lnTo>
                <a:lnTo>
                  <a:pt x="209352" y="63409"/>
                </a:lnTo>
                <a:lnTo>
                  <a:pt x="210170" y="63409"/>
                </a:lnTo>
                <a:lnTo>
                  <a:pt x="210477" y="63205"/>
                </a:lnTo>
                <a:lnTo>
                  <a:pt x="210477" y="62795"/>
                </a:lnTo>
                <a:lnTo>
                  <a:pt x="210886" y="62898"/>
                </a:lnTo>
                <a:lnTo>
                  <a:pt x="210989" y="62182"/>
                </a:lnTo>
                <a:lnTo>
                  <a:pt x="211807" y="63000"/>
                </a:lnTo>
                <a:lnTo>
                  <a:pt x="212318" y="64943"/>
                </a:lnTo>
                <a:lnTo>
                  <a:pt x="212216" y="64943"/>
                </a:lnTo>
                <a:lnTo>
                  <a:pt x="212523" y="65966"/>
                </a:lnTo>
                <a:lnTo>
                  <a:pt x="212625" y="65659"/>
                </a:lnTo>
                <a:lnTo>
                  <a:pt x="213239" y="69750"/>
                </a:lnTo>
                <a:lnTo>
                  <a:pt x="213341" y="69545"/>
                </a:lnTo>
                <a:lnTo>
                  <a:pt x="213136" y="71386"/>
                </a:lnTo>
                <a:lnTo>
                  <a:pt x="218045" y="78545"/>
                </a:lnTo>
                <a:lnTo>
                  <a:pt x="218455" y="78545"/>
                </a:lnTo>
                <a:lnTo>
                  <a:pt x="218557" y="78341"/>
                </a:lnTo>
                <a:lnTo>
                  <a:pt x="218864" y="78341"/>
                </a:lnTo>
                <a:lnTo>
                  <a:pt x="217739" y="74659"/>
                </a:lnTo>
                <a:lnTo>
                  <a:pt x="215182" y="72307"/>
                </a:lnTo>
                <a:lnTo>
                  <a:pt x="215284" y="72614"/>
                </a:lnTo>
                <a:lnTo>
                  <a:pt x="214875" y="72102"/>
                </a:lnTo>
                <a:lnTo>
                  <a:pt x="215182" y="72307"/>
                </a:lnTo>
                <a:lnTo>
                  <a:pt x="214875" y="71284"/>
                </a:lnTo>
                <a:lnTo>
                  <a:pt x="214773" y="71386"/>
                </a:lnTo>
                <a:lnTo>
                  <a:pt x="213852" y="69852"/>
                </a:lnTo>
                <a:lnTo>
                  <a:pt x="214364" y="66580"/>
                </a:lnTo>
                <a:lnTo>
                  <a:pt x="214261" y="66375"/>
                </a:lnTo>
                <a:lnTo>
                  <a:pt x="215080" y="66273"/>
                </a:lnTo>
                <a:lnTo>
                  <a:pt x="215080" y="66784"/>
                </a:lnTo>
                <a:lnTo>
                  <a:pt x="216409" y="67398"/>
                </a:lnTo>
                <a:lnTo>
                  <a:pt x="216409" y="67295"/>
                </a:lnTo>
                <a:lnTo>
                  <a:pt x="216716" y="67602"/>
                </a:lnTo>
                <a:lnTo>
                  <a:pt x="216716" y="67500"/>
                </a:lnTo>
                <a:lnTo>
                  <a:pt x="217023" y="68011"/>
                </a:lnTo>
                <a:lnTo>
                  <a:pt x="217125" y="67909"/>
                </a:lnTo>
                <a:lnTo>
                  <a:pt x="217330" y="68625"/>
                </a:lnTo>
                <a:lnTo>
                  <a:pt x="217636" y="68625"/>
                </a:lnTo>
                <a:lnTo>
                  <a:pt x="217739" y="69034"/>
                </a:lnTo>
                <a:lnTo>
                  <a:pt x="219068" y="69648"/>
                </a:lnTo>
                <a:lnTo>
                  <a:pt x="218966" y="71182"/>
                </a:lnTo>
                <a:lnTo>
                  <a:pt x="218966" y="71182"/>
                </a:lnTo>
                <a:lnTo>
                  <a:pt x="219886" y="70568"/>
                </a:lnTo>
                <a:lnTo>
                  <a:pt x="219886" y="69750"/>
                </a:lnTo>
                <a:lnTo>
                  <a:pt x="220500" y="70159"/>
                </a:lnTo>
                <a:lnTo>
                  <a:pt x="220091" y="69545"/>
                </a:lnTo>
                <a:lnTo>
                  <a:pt x="220602" y="69852"/>
                </a:lnTo>
                <a:lnTo>
                  <a:pt x="220398" y="69443"/>
                </a:lnTo>
                <a:lnTo>
                  <a:pt x="222545" y="68318"/>
                </a:lnTo>
                <a:lnTo>
                  <a:pt x="222737" y="67743"/>
                </a:lnTo>
                <a:lnTo>
                  <a:pt x="222648" y="67295"/>
                </a:lnTo>
                <a:lnTo>
                  <a:pt x="222750" y="67295"/>
                </a:lnTo>
                <a:lnTo>
                  <a:pt x="222750" y="66886"/>
                </a:lnTo>
                <a:lnTo>
                  <a:pt x="222852" y="67091"/>
                </a:lnTo>
                <a:lnTo>
                  <a:pt x="222545" y="65864"/>
                </a:lnTo>
                <a:lnTo>
                  <a:pt x="219375" y="61773"/>
                </a:lnTo>
                <a:lnTo>
                  <a:pt x="219477" y="61773"/>
                </a:lnTo>
                <a:lnTo>
                  <a:pt x="218659" y="60239"/>
                </a:lnTo>
                <a:lnTo>
                  <a:pt x="219170" y="58398"/>
                </a:lnTo>
                <a:lnTo>
                  <a:pt x="219682" y="58500"/>
                </a:lnTo>
                <a:lnTo>
                  <a:pt x="220602" y="57477"/>
                </a:lnTo>
                <a:lnTo>
                  <a:pt x="221216" y="57989"/>
                </a:lnTo>
                <a:lnTo>
                  <a:pt x="221625" y="57682"/>
                </a:lnTo>
                <a:lnTo>
                  <a:pt x="221830" y="57886"/>
                </a:lnTo>
                <a:lnTo>
                  <a:pt x="221830" y="58500"/>
                </a:lnTo>
                <a:lnTo>
                  <a:pt x="222239" y="59011"/>
                </a:lnTo>
                <a:lnTo>
                  <a:pt x="222136" y="59011"/>
                </a:lnTo>
                <a:lnTo>
                  <a:pt x="222545" y="59114"/>
                </a:lnTo>
                <a:lnTo>
                  <a:pt x="222239" y="58500"/>
                </a:lnTo>
                <a:lnTo>
                  <a:pt x="222443" y="58091"/>
                </a:lnTo>
                <a:lnTo>
                  <a:pt x="224080" y="57477"/>
                </a:lnTo>
                <a:lnTo>
                  <a:pt x="224591" y="57477"/>
                </a:lnTo>
                <a:lnTo>
                  <a:pt x="224693" y="57170"/>
                </a:lnTo>
                <a:lnTo>
                  <a:pt x="225102" y="57068"/>
                </a:lnTo>
                <a:lnTo>
                  <a:pt x="224795" y="56455"/>
                </a:lnTo>
                <a:lnTo>
                  <a:pt x="225000" y="56250"/>
                </a:lnTo>
                <a:lnTo>
                  <a:pt x="225716" y="57068"/>
                </a:lnTo>
                <a:lnTo>
                  <a:pt x="226023" y="56659"/>
                </a:lnTo>
                <a:lnTo>
                  <a:pt x="226125" y="56761"/>
                </a:lnTo>
                <a:lnTo>
                  <a:pt x="226534" y="56659"/>
                </a:lnTo>
                <a:lnTo>
                  <a:pt x="226739" y="56659"/>
                </a:lnTo>
                <a:lnTo>
                  <a:pt x="226739" y="56557"/>
                </a:lnTo>
                <a:lnTo>
                  <a:pt x="227352" y="56455"/>
                </a:lnTo>
                <a:lnTo>
                  <a:pt x="227761" y="55739"/>
                </a:lnTo>
                <a:lnTo>
                  <a:pt x="228170" y="55739"/>
                </a:lnTo>
                <a:lnTo>
                  <a:pt x="228375" y="55534"/>
                </a:lnTo>
                <a:lnTo>
                  <a:pt x="228477" y="54920"/>
                </a:lnTo>
                <a:lnTo>
                  <a:pt x="229807" y="54000"/>
                </a:lnTo>
                <a:lnTo>
                  <a:pt x="229705" y="53386"/>
                </a:lnTo>
                <a:lnTo>
                  <a:pt x="229193" y="53182"/>
                </a:lnTo>
                <a:lnTo>
                  <a:pt x="229807" y="52977"/>
                </a:lnTo>
                <a:lnTo>
                  <a:pt x="229398" y="52466"/>
                </a:lnTo>
                <a:lnTo>
                  <a:pt x="229602" y="52466"/>
                </a:lnTo>
                <a:lnTo>
                  <a:pt x="229807" y="52670"/>
                </a:lnTo>
                <a:lnTo>
                  <a:pt x="230318" y="50932"/>
                </a:lnTo>
                <a:lnTo>
                  <a:pt x="230727" y="50932"/>
                </a:lnTo>
                <a:lnTo>
                  <a:pt x="230523" y="50318"/>
                </a:lnTo>
                <a:lnTo>
                  <a:pt x="230625" y="50318"/>
                </a:lnTo>
                <a:lnTo>
                  <a:pt x="230318" y="50114"/>
                </a:lnTo>
                <a:lnTo>
                  <a:pt x="230727" y="50114"/>
                </a:lnTo>
                <a:lnTo>
                  <a:pt x="230625" y="49602"/>
                </a:lnTo>
                <a:lnTo>
                  <a:pt x="230318" y="49705"/>
                </a:lnTo>
                <a:lnTo>
                  <a:pt x="230625" y="49295"/>
                </a:lnTo>
                <a:lnTo>
                  <a:pt x="229807" y="48886"/>
                </a:lnTo>
                <a:lnTo>
                  <a:pt x="229295" y="49091"/>
                </a:lnTo>
                <a:lnTo>
                  <a:pt x="228886" y="48989"/>
                </a:lnTo>
                <a:lnTo>
                  <a:pt x="230011" y="48273"/>
                </a:lnTo>
                <a:lnTo>
                  <a:pt x="229909" y="47966"/>
                </a:lnTo>
                <a:lnTo>
                  <a:pt x="228682" y="47148"/>
                </a:lnTo>
                <a:lnTo>
                  <a:pt x="228170" y="47250"/>
                </a:lnTo>
                <a:lnTo>
                  <a:pt x="228477" y="47045"/>
                </a:lnTo>
                <a:lnTo>
                  <a:pt x="229807" y="47455"/>
                </a:lnTo>
                <a:lnTo>
                  <a:pt x="226227" y="44080"/>
                </a:lnTo>
                <a:lnTo>
                  <a:pt x="226739" y="43057"/>
                </a:lnTo>
                <a:lnTo>
                  <a:pt x="226534" y="42750"/>
                </a:lnTo>
                <a:lnTo>
                  <a:pt x="226534" y="42750"/>
                </a:lnTo>
                <a:lnTo>
                  <a:pt x="226739" y="42955"/>
                </a:lnTo>
                <a:lnTo>
                  <a:pt x="227045" y="42545"/>
                </a:lnTo>
                <a:lnTo>
                  <a:pt x="226943" y="42341"/>
                </a:lnTo>
                <a:lnTo>
                  <a:pt x="228170" y="41932"/>
                </a:lnTo>
                <a:lnTo>
                  <a:pt x="228170" y="41523"/>
                </a:lnTo>
                <a:lnTo>
                  <a:pt x="225920" y="41216"/>
                </a:lnTo>
                <a:lnTo>
                  <a:pt x="225511" y="41830"/>
                </a:lnTo>
                <a:lnTo>
                  <a:pt x="225000" y="41625"/>
                </a:lnTo>
                <a:lnTo>
                  <a:pt x="224898" y="41216"/>
                </a:lnTo>
                <a:lnTo>
                  <a:pt x="223159" y="39989"/>
                </a:lnTo>
                <a:lnTo>
                  <a:pt x="224182" y="39580"/>
                </a:lnTo>
                <a:lnTo>
                  <a:pt x="224284" y="38966"/>
                </a:lnTo>
                <a:lnTo>
                  <a:pt x="224898" y="38659"/>
                </a:lnTo>
                <a:lnTo>
                  <a:pt x="225000" y="38250"/>
                </a:lnTo>
                <a:lnTo>
                  <a:pt x="225614" y="37943"/>
                </a:lnTo>
                <a:lnTo>
                  <a:pt x="226227" y="38557"/>
                </a:lnTo>
                <a:lnTo>
                  <a:pt x="226023" y="39477"/>
                </a:lnTo>
                <a:lnTo>
                  <a:pt x="226432" y="39477"/>
                </a:lnTo>
                <a:lnTo>
                  <a:pt x="226432" y="39784"/>
                </a:lnTo>
                <a:lnTo>
                  <a:pt x="226125" y="39989"/>
                </a:lnTo>
                <a:lnTo>
                  <a:pt x="226534" y="39989"/>
                </a:lnTo>
                <a:lnTo>
                  <a:pt x="226636" y="39886"/>
                </a:lnTo>
                <a:lnTo>
                  <a:pt x="228273" y="38864"/>
                </a:lnTo>
                <a:lnTo>
                  <a:pt x="228682" y="39273"/>
                </a:lnTo>
                <a:lnTo>
                  <a:pt x="228784" y="39068"/>
                </a:lnTo>
                <a:lnTo>
                  <a:pt x="229500" y="39580"/>
                </a:lnTo>
                <a:lnTo>
                  <a:pt x="229602" y="40091"/>
                </a:lnTo>
                <a:lnTo>
                  <a:pt x="229909" y="40193"/>
                </a:lnTo>
                <a:lnTo>
                  <a:pt x="229500" y="40807"/>
                </a:lnTo>
                <a:lnTo>
                  <a:pt x="230011" y="40807"/>
                </a:lnTo>
                <a:lnTo>
                  <a:pt x="229807" y="41011"/>
                </a:lnTo>
                <a:lnTo>
                  <a:pt x="230114" y="41114"/>
                </a:lnTo>
                <a:lnTo>
                  <a:pt x="230216" y="41216"/>
                </a:lnTo>
                <a:lnTo>
                  <a:pt x="230420" y="41114"/>
                </a:lnTo>
                <a:lnTo>
                  <a:pt x="230523" y="40909"/>
                </a:lnTo>
                <a:lnTo>
                  <a:pt x="231955" y="42136"/>
                </a:lnTo>
                <a:lnTo>
                  <a:pt x="231341" y="42136"/>
                </a:lnTo>
                <a:lnTo>
                  <a:pt x="232670" y="44182"/>
                </a:lnTo>
                <a:lnTo>
                  <a:pt x="232568" y="44284"/>
                </a:lnTo>
                <a:lnTo>
                  <a:pt x="232670" y="44386"/>
                </a:lnTo>
                <a:lnTo>
                  <a:pt x="232466" y="44386"/>
                </a:lnTo>
                <a:lnTo>
                  <a:pt x="232875" y="44795"/>
                </a:lnTo>
                <a:lnTo>
                  <a:pt x="233080" y="44591"/>
                </a:lnTo>
                <a:lnTo>
                  <a:pt x="233182" y="44284"/>
                </a:lnTo>
                <a:lnTo>
                  <a:pt x="233489" y="44489"/>
                </a:lnTo>
                <a:lnTo>
                  <a:pt x="233386" y="44284"/>
                </a:lnTo>
                <a:lnTo>
                  <a:pt x="233591" y="44284"/>
                </a:lnTo>
                <a:lnTo>
                  <a:pt x="233693" y="44080"/>
                </a:lnTo>
                <a:lnTo>
                  <a:pt x="234205" y="44182"/>
                </a:lnTo>
                <a:lnTo>
                  <a:pt x="234614" y="43875"/>
                </a:lnTo>
                <a:lnTo>
                  <a:pt x="234614" y="42955"/>
                </a:lnTo>
                <a:lnTo>
                  <a:pt x="231034" y="39170"/>
                </a:lnTo>
                <a:lnTo>
                  <a:pt x="232261" y="38045"/>
                </a:lnTo>
                <a:lnTo>
                  <a:pt x="232057" y="36205"/>
                </a:lnTo>
                <a:lnTo>
                  <a:pt x="232057" y="36205"/>
                </a:lnTo>
                <a:lnTo>
                  <a:pt x="232364" y="36307"/>
                </a:lnTo>
                <a:lnTo>
                  <a:pt x="232670" y="35591"/>
                </a:lnTo>
                <a:lnTo>
                  <a:pt x="232977" y="35591"/>
                </a:lnTo>
                <a:lnTo>
                  <a:pt x="234102" y="36102"/>
                </a:lnTo>
                <a:lnTo>
                  <a:pt x="235739" y="30273"/>
                </a:lnTo>
                <a:lnTo>
                  <a:pt x="232670" y="25773"/>
                </a:lnTo>
                <a:lnTo>
                  <a:pt x="232670" y="25466"/>
                </a:lnTo>
                <a:lnTo>
                  <a:pt x="229909" y="24545"/>
                </a:lnTo>
                <a:lnTo>
                  <a:pt x="230420" y="25159"/>
                </a:lnTo>
                <a:lnTo>
                  <a:pt x="230318" y="25364"/>
                </a:lnTo>
                <a:lnTo>
                  <a:pt x="230114" y="24955"/>
                </a:lnTo>
                <a:lnTo>
                  <a:pt x="230114" y="25159"/>
                </a:lnTo>
                <a:lnTo>
                  <a:pt x="229500" y="25261"/>
                </a:lnTo>
                <a:lnTo>
                  <a:pt x="229602" y="24955"/>
                </a:lnTo>
                <a:lnTo>
                  <a:pt x="228886" y="24648"/>
                </a:lnTo>
                <a:lnTo>
                  <a:pt x="229193" y="25057"/>
                </a:lnTo>
                <a:lnTo>
                  <a:pt x="226841" y="23830"/>
                </a:lnTo>
                <a:lnTo>
                  <a:pt x="228068" y="21068"/>
                </a:lnTo>
                <a:lnTo>
                  <a:pt x="227864" y="20761"/>
                </a:lnTo>
                <a:lnTo>
                  <a:pt x="228170" y="20455"/>
                </a:lnTo>
                <a:lnTo>
                  <a:pt x="228170" y="20045"/>
                </a:lnTo>
                <a:lnTo>
                  <a:pt x="231034" y="19841"/>
                </a:lnTo>
                <a:lnTo>
                  <a:pt x="231034" y="19636"/>
                </a:lnTo>
                <a:lnTo>
                  <a:pt x="232875" y="19841"/>
                </a:lnTo>
                <a:lnTo>
                  <a:pt x="232568" y="19534"/>
                </a:lnTo>
                <a:lnTo>
                  <a:pt x="232875" y="19636"/>
                </a:lnTo>
                <a:lnTo>
                  <a:pt x="232670" y="19432"/>
                </a:lnTo>
                <a:lnTo>
                  <a:pt x="233898" y="19534"/>
                </a:lnTo>
                <a:lnTo>
                  <a:pt x="233795" y="19636"/>
                </a:lnTo>
                <a:lnTo>
                  <a:pt x="235432" y="19841"/>
                </a:lnTo>
                <a:lnTo>
                  <a:pt x="234716" y="19943"/>
                </a:lnTo>
                <a:lnTo>
                  <a:pt x="236250" y="19943"/>
                </a:lnTo>
                <a:lnTo>
                  <a:pt x="236250" y="19841"/>
                </a:lnTo>
                <a:lnTo>
                  <a:pt x="236966" y="19943"/>
                </a:lnTo>
                <a:lnTo>
                  <a:pt x="237068" y="19841"/>
                </a:lnTo>
                <a:lnTo>
                  <a:pt x="237580" y="19841"/>
                </a:lnTo>
                <a:lnTo>
                  <a:pt x="236557" y="19636"/>
                </a:lnTo>
                <a:lnTo>
                  <a:pt x="236148" y="18818"/>
                </a:lnTo>
                <a:lnTo>
                  <a:pt x="236352" y="17489"/>
                </a:lnTo>
                <a:lnTo>
                  <a:pt x="238602" y="17693"/>
                </a:lnTo>
                <a:lnTo>
                  <a:pt x="239011" y="18205"/>
                </a:lnTo>
                <a:lnTo>
                  <a:pt x="239216" y="18102"/>
                </a:lnTo>
                <a:lnTo>
                  <a:pt x="239625" y="18511"/>
                </a:lnTo>
                <a:lnTo>
                  <a:pt x="239932" y="18409"/>
                </a:lnTo>
                <a:lnTo>
                  <a:pt x="240341" y="17591"/>
                </a:lnTo>
                <a:lnTo>
                  <a:pt x="240239" y="17489"/>
                </a:lnTo>
                <a:lnTo>
                  <a:pt x="240648" y="17693"/>
                </a:lnTo>
                <a:lnTo>
                  <a:pt x="239727" y="16773"/>
                </a:lnTo>
                <a:lnTo>
                  <a:pt x="241364" y="16875"/>
                </a:lnTo>
                <a:lnTo>
                  <a:pt x="240648" y="16875"/>
                </a:lnTo>
                <a:lnTo>
                  <a:pt x="241875" y="18307"/>
                </a:lnTo>
                <a:lnTo>
                  <a:pt x="241261" y="18614"/>
                </a:lnTo>
                <a:lnTo>
                  <a:pt x="241261" y="19432"/>
                </a:lnTo>
                <a:lnTo>
                  <a:pt x="241159" y="19534"/>
                </a:lnTo>
                <a:lnTo>
                  <a:pt x="241057" y="20966"/>
                </a:lnTo>
                <a:lnTo>
                  <a:pt x="240648" y="20966"/>
                </a:lnTo>
                <a:lnTo>
                  <a:pt x="240750" y="21170"/>
                </a:lnTo>
                <a:lnTo>
                  <a:pt x="240443" y="21273"/>
                </a:lnTo>
                <a:lnTo>
                  <a:pt x="240852" y="21784"/>
                </a:lnTo>
                <a:lnTo>
                  <a:pt x="240852" y="22398"/>
                </a:lnTo>
                <a:lnTo>
                  <a:pt x="246784" y="27716"/>
                </a:lnTo>
                <a:lnTo>
                  <a:pt x="247091" y="26898"/>
                </a:lnTo>
                <a:lnTo>
                  <a:pt x="246273" y="25773"/>
                </a:lnTo>
                <a:lnTo>
                  <a:pt x="246273" y="25773"/>
                </a:lnTo>
                <a:lnTo>
                  <a:pt x="246580" y="25977"/>
                </a:lnTo>
                <a:lnTo>
                  <a:pt x="247398" y="25773"/>
                </a:lnTo>
                <a:lnTo>
                  <a:pt x="246477" y="24852"/>
                </a:lnTo>
                <a:lnTo>
                  <a:pt x="246580" y="24341"/>
                </a:lnTo>
                <a:lnTo>
                  <a:pt x="247193" y="24341"/>
                </a:lnTo>
                <a:lnTo>
                  <a:pt x="246068" y="22705"/>
                </a:lnTo>
                <a:lnTo>
                  <a:pt x="246170" y="22398"/>
                </a:lnTo>
                <a:lnTo>
                  <a:pt x="246375" y="22807"/>
                </a:lnTo>
                <a:lnTo>
                  <a:pt x="246784" y="22705"/>
                </a:lnTo>
                <a:lnTo>
                  <a:pt x="245045" y="21170"/>
                </a:lnTo>
                <a:lnTo>
                  <a:pt x="244330" y="21068"/>
                </a:lnTo>
                <a:lnTo>
                  <a:pt x="244432" y="21273"/>
                </a:lnTo>
                <a:lnTo>
                  <a:pt x="243614" y="20761"/>
                </a:lnTo>
                <a:lnTo>
                  <a:pt x="243307" y="19943"/>
                </a:lnTo>
                <a:lnTo>
                  <a:pt x="243409" y="19943"/>
                </a:lnTo>
                <a:lnTo>
                  <a:pt x="242898" y="19227"/>
                </a:lnTo>
                <a:lnTo>
                  <a:pt x="244023" y="19227"/>
                </a:lnTo>
                <a:lnTo>
                  <a:pt x="243818" y="19023"/>
                </a:lnTo>
                <a:lnTo>
                  <a:pt x="244330" y="18716"/>
                </a:lnTo>
                <a:lnTo>
                  <a:pt x="244943" y="19227"/>
                </a:lnTo>
                <a:lnTo>
                  <a:pt x="244943" y="18920"/>
                </a:lnTo>
                <a:lnTo>
                  <a:pt x="245250" y="18716"/>
                </a:lnTo>
                <a:lnTo>
                  <a:pt x="247807" y="19125"/>
                </a:lnTo>
                <a:lnTo>
                  <a:pt x="247398" y="18716"/>
                </a:lnTo>
                <a:lnTo>
                  <a:pt x="247909" y="18102"/>
                </a:lnTo>
                <a:lnTo>
                  <a:pt x="247807" y="18000"/>
                </a:lnTo>
                <a:lnTo>
                  <a:pt x="247909" y="17898"/>
                </a:lnTo>
                <a:lnTo>
                  <a:pt x="248011" y="17898"/>
                </a:lnTo>
                <a:lnTo>
                  <a:pt x="247807" y="17693"/>
                </a:lnTo>
                <a:lnTo>
                  <a:pt x="248011" y="17795"/>
                </a:lnTo>
                <a:lnTo>
                  <a:pt x="248011" y="17489"/>
                </a:lnTo>
                <a:lnTo>
                  <a:pt x="249545" y="16773"/>
                </a:lnTo>
                <a:lnTo>
                  <a:pt x="249136" y="16568"/>
                </a:lnTo>
                <a:lnTo>
                  <a:pt x="251182" y="16977"/>
                </a:lnTo>
                <a:lnTo>
                  <a:pt x="251080" y="16670"/>
                </a:lnTo>
                <a:lnTo>
                  <a:pt x="249443" y="15852"/>
                </a:lnTo>
                <a:lnTo>
                  <a:pt x="249443" y="15852"/>
                </a:lnTo>
                <a:lnTo>
                  <a:pt x="249545" y="15955"/>
                </a:lnTo>
                <a:lnTo>
                  <a:pt x="249545" y="15955"/>
                </a:lnTo>
                <a:lnTo>
                  <a:pt x="249136" y="15750"/>
                </a:lnTo>
                <a:lnTo>
                  <a:pt x="249239" y="15750"/>
                </a:lnTo>
                <a:lnTo>
                  <a:pt x="248011" y="15034"/>
                </a:lnTo>
                <a:lnTo>
                  <a:pt x="248114" y="15239"/>
                </a:lnTo>
                <a:lnTo>
                  <a:pt x="245045" y="14830"/>
                </a:lnTo>
                <a:lnTo>
                  <a:pt x="246682" y="14625"/>
                </a:lnTo>
                <a:lnTo>
                  <a:pt x="245761" y="14420"/>
                </a:lnTo>
                <a:lnTo>
                  <a:pt x="248318" y="14420"/>
                </a:lnTo>
                <a:lnTo>
                  <a:pt x="237375" y="10125"/>
                </a:lnTo>
                <a:lnTo>
                  <a:pt x="237477" y="10227"/>
                </a:lnTo>
                <a:lnTo>
                  <a:pt x="235330" y="10023"/>
                </a:lnTo>
                <a:lnTo>
                  <a:pt x="236864" y="11148"/>
                </a:lnTo>
                <a:lnTo>
                  <a:pt x="236864" y="11148"/>
                </a:lnTo>
                <a:lnTo>
                  <a:pt x="234000" y="10330"/>
                </a:lnTo>
                <a:lnTo>
                  <a:pt x="233795" y="10432"/>
                </a:lnTo>
                <a:lnTo>
                  <a:pt x="230523" y="10432"/>
                </a:lnTo>
                <a:lnTo>
                  <a:pt x="231136" y="11352"/>
                </a:lnTo>
                <a:lnTo>
                  <a:pt x="231136" y="11352"/>
                </a:lnTo>
                <a:lnTo>
                  <a:pt x="222034" y="9205"/>
                </a:lnTo>
                <a:lnTo>
                  <a:pt x="222239" y="9205"/>
                </a:lnTo>
                <a:lnTo>
                  <a:pt x="219375" y="8591"/>
                </a:lnTo>
                <a:lnTo>
                  <a:pt x="219886" y="8489"/>
                </a:lnTo>
                <a:lnTo>
                  <a:pt x="217636" y="8080"/>
                </a:lnTo>
                <a:lnTo>
                  <a:pt x="217330" y="8591"/>
                </a:lnTo>
                <a:lnTo>
                  <a:pt x="216614" y="8489"/>
                </a:lnTo>
                <a:lnTo>
                  <a:pt x="217023" y="8489"/>
                </a:lnTo>
                <a:lnTo>
                  <a:pt x="216716" y="8182"/>
                </a:lnTo>
                <a:lnTo>
                  <a:pt x="215693" y="8182"/>
                </a:lnTo>
                <a:lnTo>
                  <a:pt x="216920" y="8080"/>
                </a:lnTo>
                <a:lnTo>
                  <a:pt x="212727" y="7670"/>
                </a:lnTo>
                <a:lnTo>
                  <a:pt x="213341" y="7875"/>
                </a:lnTo>
                <a:lnTo>
                  <a:pt x="212420" y="8080"/>
                </a:lnTo>
                <a:lnTo>
                  <a:pt x="213239" y="8182"/>
                </a:lnTo>
                <a:lnTo>
                  <a:pt x="213034" y="8284"/>
                </a:lnTo>
                <a:lnTo>
                  <a:pt x="212932" y="8386"/>
                </a:lnTo>
                <a:lnTo>
                  <a:pt x="213852" y="8795"/>
                </a:lnTo>
                <a:lnTo>
                  <a:pt x="212830" y="8795"/>
                </a:lnTo>
                <a:lnTo>
                  <a:pt x="213034" y="9000"/>
                </a:lnTo>
                <a:lnTo>
                  <a:pt x="212830" y="9000"/>
                </a:lnTo>
                <a:lnTo>
                  <a:pt x="213034" y="9102"/>
                </a:lnTo>
                <a:lnTo>
                  <a:pt x="210886" y="8693"/>
                </a:lnTo>
                <a:lnTo>
                  <a:pt x="210580" y="8898"/>
                </a:lnTo>
                <a:lnTo>
                  <a:pt x="208739" y="8591"/>
                </a:lnTo>
                <a:lnTo>
                  <a:pt x="209045" y="9000"/>
                </a:lnTo>
                <a:lnTo>
                  <a:pt x="209045" y="9409"/>
                </a:lnTo>
                <a:lnTo>
                  <a:pt x="208534" y="9307"/>
                </a:lnTo>
                <a:lnTo>
                  <a:pt x="206591" y="8693"/>
                </a:lnTo>
                <a:lnTo>
                  <a:pt x="206898" y="8591"/>
                </a:lnTo>
                <a:lnTo>
                  <a:pt x="205057" y="8080"/>
                </a:lnTo>
                <a:lnTo>
                  <a:pt x="206386" y="8284"/>
                </a:lnTo>
                <a:lnTo>
                  <a:pt x="205364" y="7977"/>
                </a:lnTo>
                <a:lnTo>
                  <a:pt x="205773" y="7773"/>
                </a:lnTo>
                <a:lnTo>
                  <a:pt x="201068" y="7057"/>
                </a:lnTo>
                <a:lnTo>
                  <a:pt x="201682" y="7364"/>
                </a:lnTo>
                <a:lnTo>
                  <a:pt x="201170" y="7568"/>
                </a:lnTo>
                <a:lnTo>
                  <a:pt x="201477" y="7670"/>
                </a:lnTo>
                <a:lnTo>
                  <a:pt x="198205" y="7159"/>
                </a:lnTo>
                <a:lnTo>
                  <a:pt x="195034" y="7159"/>
                </a:lnTo>
                <a:lnTo>
                  <a:pt x="195443" y="7261"/>
                </a:lnTo>
                <a:lnTo>
                  <a:pt x="195545" y="7568"/>
                </a:lnTo>
                <a:lnTo>
                  <a:pt x="195955" y="7875"/>
                </a:lnTo>
                <a:lnTo>
                  <a:pt x="195545" y="7670"/>
                </a:lnTo>
                <a:lnTo>
                  <a:pt x="195545" y="7568"/>
                </a:lnTo>
                <a:lnTo>
                  <a:pt x="194830" y="7159"/>
                </a:lnTo>
                <a:lnTo>
                  <a:pt x="194830" y="6955"/>
                </a:lnTo>
                <a:lnTo>
                  <a:pt x="194216" y="6750"/>
                </a:lnTo>
                <a:lnTo>
                  <a:pt x="194011" y="6955"/>
                </a:lnTo>
                <a:lnTo>
                  <a:pt x="193193" y="6750"/>
                </a:lnTo>
                <a:lnTo>
                  <a:pt x="193295" y="6750"/>
                </a:lnTo>
                <a:lnTo>
                  <a:pt x="192989" y="6648"/>
                </a:lnTo>
                <a:lnTo>
                  <a:pt x="193091" y="6750"/>
                </a:lnTo>
                <a:lnTo>
                  <a:pt x="192375" y="6955"/>
                </a:lnTo>
                <a:lnTo>
                  <a:pt x="193193" y="6955"/>
                </a:lnTo>
                <a:lnTo>
                  <a:pt x="190432" y="7773"/>
                </a:lnTo>
                <a:lnTo>
                  <a:pt x="191966" y="6648"/>
                </a:lnTo>
                <a:lnTo>
                  <a:pt x="191966" y="6443"/>
                </a:lnTo>
                <a:lnTo>
                  <a:pt x="193193" y="5830"/>
                </a:lnTo>
                <a:lnTo>
                  <a:pt x="192068" y="5216"/>
                </a:lnTo>
                <a:lnTo>
                  <a:pt x="192068" y="5216"/>
                </a:lnTo>
                <a:lnTo>
                  <a:pt x="192989" y="5523"/>
                </a:lnTo>
                <a:lnTo>
                  <a:pt x="191966" y="4909"/>
                </a:lnTo>
                <a:lnTo>
                  <a:pt x="191966" y="5114"/>
                </a:lnTo>
                <a:lnTo>
                  <a:pt x="188489" y="4602"/>
                </a:lnTo>
                <a:lnTo>
                  <a:pt x="188489" y="4602"/>
                </a:lnTo>
                <a:lnTo>
                  <a:pt x="188591" y="4705"/>
                </a:lnTo>
                <a:lnTo>
                  <a:pt x="187670" y="4705"/>
                </a:lnTo>
                <a:lnTo>
                  <a:pt x="187977" y="4398"/>
                </a:lnTo>
                <a:lnTo>
                  <a:pt x="185830" y="4295"/>
                </a:lnTo>
                <a:lnTo>
                  <a:pt x="186648" y="4091"/>
                </a:lnTo>
                <a:lnTo>
                  <a:pt x="185114" y="3784"/>
                </a:lnTo>
                <a:close/>
                <a:moveTo>
                  <a:pt x="252818" y="91125"/>
                </a:moveTo>
                <a:lnTo>
                  <a:pt x="252307" y="92455"/>
                </a:lnTo>
                <a:lnTo>
                  <a:pt x="252205" y="92352"/>
                </a:lnTo>
                <a:lnTo>
                  <a:pt x="252000" y="92966"/>
                </a:lnTo>
                <a:lnTo>
                  <a:pt x="252102" y="93170"/>
                </a:lnTo>
                <a:lnTo>
                  <a:pt x="250364" y="97875"/>
                </a:lnTo>
                <a:lnTo>
                  <a:pt x="249341" y="98080"/>
                </a:lnTo>
                <a:lnTo>
                  <a:pt x="246375" y="95727"/>
                </a:lnTo>
                <a:lnTo>
                  <a:pt x="246170" y="95011"/>
                </a:lnTo>
                <a:lnTo>
                  <a:pt x="246886" y="93580"/>
                </a:lnTo>
                <a:lnTo>
                  <a:pt x="247091" y="93682"/>
                </a:lnTo>
                <a:lnTo>
                  <a:pt x="247705" y="92761"/>
                </a:lnTo>
                <a:lnTo>
                  <a:pt x="247193" y="92455"/>
                </a:lnTo>
                <a:lnTo>
                  <a:pt x="247091" y="92864"/>
                </a:lnTo>
                <a:lnTo>
                  <a:pt x="246784" y="92352"/>
                </a:lnTo>
                <a:lnTo>
                  <a:pt x="246886" y="92148"/>
                </a:lnTo>
                <a:lnTo>
                  <a:pt x="246886" y="92148"/>
                </a:lnTo>
                <a:lnTo>
                  <a:pt x="246170" y="92557"/>
                </a:lnTo>
                <a:lnTo>
                  <a:pt x="244227" y="91841"/>
                </a:lnTo>
                <a:lnTo>
                  <a:pt x="244023" y="91841"/>
                </a:lnTo>
                <a:lnTo>
                  <a:pt x="243716" y="91534"/>
                </a:lnTo>
                <a:lnTo>
                  <a:pt x="243307" y="91534"/>
                </a:lnTo>
                <a:lnTo>
                  <a:pt x="243818" y="91841"/>
                </a:lnTo>
                <a:lnTo>
                  <a:pt x="243920" y="92455"/>
                </a:lnTo>
                <a:lnTo>
                  <a:pt x="243614" y="92659"/>
                </a:lnTo>
                <a:lnTo>
                  <a:pt x="242591" y="92455"/>
                </a:lnTo>
                <a:lnTo>
                  <a:pt x="242182" y="92966"/>
                </a:lnTo>
                <a:lnTo>
                  <a:pt x="241977" y="92864"/>
                </a:lnTo>
                <a:lnTo>
                  <a:pt x="241977" y="93068"/>
                </a:lnTo>
                <a:lnTo>
                  <a:pt x="241773" y="93068"/>
                </a:lnTo>
                <a:lnTo>
                  <a:pt x="241466" y="93375"/>
                </a:lnTo>
                <a:lnTo>
                  <a:pt x="241466" y="93784"/>
                </a:lnTo>
                <a:lnTo>
                  <a:pt x="241159" y="93989"/>
                </a:lnTo>
                <a:lnTo>
                  <a:pt x="240852" y="95011"/>
                </a:lnTo>
                <a:lnTo>
                  <a:pt x="240955" y="95318"/>
                </a:lnTo>
                <a:lnTo>
                  <a:pt x="240750" y="95625"/>
                </a:lnTo>
                <a:lnTo>
                  <a:pt x="239420" y="95727"/>
                </a:lnTo>
                <a:lnTo>
                  <a:pt x="239318" y="95727"/>
                </a:lnTo>
                <a:lnTo>
                  <a:pt x="239318" y="95011"/>
                </a:lnTo>
                <a:lnTo>
                  <a:pt x="238500" y="94193"/>
                </a:lnTo>
                <a:lnTo>
                  <a:pt x="238295" y="94500"/>
                </a:lnTo>
                <a:lnTo>
                  <a:pt x="237784" y="94602"/>
                </a:lnTo>
                <a:lnTo>
                  <a:pt x="237375" y="95114"/>
                </a:lnTo>
                <a:lnTo>
                  <a:pt x="237273" y="95011"/>
                </a:lnTo>
                <a:lnTo>
                  <a:pt x="237273" y="94705"/>
                </a:lnTo>
                <a:lnTo>
                  <a:pt x="236557" y="95932"/>
                </a:lnTo>
                <a:lnTo>
                  <a:pt x="236250" y="95727"/>
                </a:lnTo>
                <a:lnTo>
                  <a:pt x="235943" y="96443"/>
                </a:lnTo>
                <a:lnTo>
                  <a:pt x="236148" y="96341"/>
                </a:lnTo>
                <a:lnTo>
                  <a:pt x="236045" y="96545"/>
                </a:lnTo>
                <a:lnTo>
                  <a:pt x="235841" y="96648"/>
                </a:lnTo>
                <a:lnTo>
                  <a:pt x="236148" y="96955"/>
                </a:lnTo>
                <a:lnTo>
                  <a:pt x="235023" y="97057"/>
                </a:lnTo>
                <a:lnTo>
                  <a:pt x="235125" y="97670"/>
                </a:lnTo>
                <a:lnTo>
                  <a:pt x="234818" y="98080"/>
                </a:lnTo>
                <a:lnTo>
                  <a:pt x="234614" y="97364"/>
                </a:lnTo>
                <a:lnTo>
                  <a:pt x="234307" y="97159"/>
                </a:lnTo>
                <a:lnTo>
                  <a:pt x="233795" y="97568"/>
                </a:lnTo>
                <a:lnTo>
                  <a:pt x="233489" y="98795"/>
                </a:lnTo>
                <a:lnTo>
                  <a:pt x="225511" y="103193"/>
                </a:lnTo>
                <a:lnTo>
                  <a:pt x="225614" y="102477"/>
                </a:lnTo>
                <a:lnTo>
                  <a:pt x="224591" y="105034"/>
                </a:lnTo>
                <a:lnTo>
                  <a:pt x="224795" y="106466"/>
                </a:lnTo>
                <a:lnTo>
                  <a:pt x="224386" y="106977"/>
                </a:lnTo>
                <a:lnTo>
                  <a:pt x="224386" y="107386"/>
                </a:lnTo>
                <a:lnTo>
                  <a:pt x="224080" y="106875"/>
                </a:lnTo>
                <a:lnTo>
                  <a:pt x="223977" y="106977"/>
                </a:lnTo>
                <a:lnTo>
                  <a:pt x="223875" y="106977"/>
                </a:lnTo>
                <a:lnTo>
                  <a:pt x="224284" y="113318"/>
                </a:lnTo>
                <a:lnTo>
                  <a:pt x="222955" y="115261"/>
                </a:lnTo>
                <a:lnTo>
                  <a:pt x="223159" y="115364"/>
                </a:lnTo>
                <a:lnTo>
                  <a:pt x="223568" y="115773"/>
                </a:lnTo>
                <a:lnTo>
                  <a:pt x="228989" y="114852"/>
                </a:lnTo>
                <a:lnTo>
                  <a:pt x="229193" y="114955"/>
                </a:lnTo>
                <a:lnTo>
                  <a:pt x="237068" y="112500"/>
                </a:lnTo>
                <a:lnTo>
                  <a:pt x="239932" y="113216"/>
                </a:lnTo>
                <a:lnTo>
                  <a:pt x="240136" y="113523"/>
                </a:lnTo>
                <a:lnTo>
                  <a:pt x="240034" y="113727"/>
                </a:lnTo>
                <a:lnTo>
                  <a:pt x="240341" y="115364"/>
                </a:lnTo>
                <a:lnTo>
                  <a:pt x="240034" y="115568"/>
                </a:lnTo>
                <a:lnTo>
                  <a:pt x="240341" y="115977"/>
                </a:lnTo>
                <a:lnTo>
                  <a:pt x="240648" y="115977"/>
                </a:lnTo>
                <a:lnTo>
                  <a:pt x="240648" y="115670"/>
                </a:lnTo>
                <a:lnTo>
                  <a:pt x="243205" y="113523"/>
                </a:lnTo>
                <a:lnTo>
                  <a:pt x="241261" y="116284"/>
                </a:lnTo>
                <a:lnTo>
                  <a:pt x="242795" y="115159"/>
                </a:lnTo>
                <a:lnTo>
                  <a:pt x="242795" y="115977"/>
                </a:lnTo>
                <a:lnTo>
                  <a:pt x="242182" y="116693"/>
                </a:lnTo>
                <a:lnTo>
                  <a:pt x="242182" y="116693"/>
                </a:lnTo>
                <a:lnTo>
                  <a:pt x="242898" y="116489"/>
                </a:lnTo>
                <a:lnTo>
                  <a:pt x="243000" y="116591"/>
                </a:lnTo>
                <a:lnTo>
                  <a:pt x="243102" y="116591"/>
                </a:lnTo>
                <a:lnTo>
                  <a:pt x="243102" y="116693"/>
                </a:lnTo>
                <a:lnTo>
                  <a:pt x="243000" y="116591"/>
                </a:lnTo>
                <a:lnTo>
                  <a:pt x="242898" y="116591"/>
                </a:lnTo>
                <a:lnTo>
                  <a:pt x="243000" y="119148"/>
                </a:lnTo>
                <a:lnTo>
                  <a:pt x="244739" y="119864"/>
                </a:lnTo>
                <a:lnTo>
                  <a:pt x="246273" y="119352"/>
                </a:lnTo>
                <a:lnTo>
                  <a:pt x="246170" y="119352"/>
                </a:lnTo>
                <a:lnTo>
                  <a:pt x="246784" y="119148"/>
                </a:lnTo>
                <a:lnTo>
                  <a:pt x="246784" y="119148"/>
                </a:lnTo>
                <a:lnTo>
                  <a:pt x="246273" y="119557"/>
                </a:lnTo>
                <a:lnTo>
                  <a:pt x="246989" y="119557"/>
                </a:lnTo>
                <a:lnTo>
                  <a:pt x="246784" y="119761"/>
                </a:lnTo>
                <a:lnTo>
                  <a:pt x="247193" y="120375"/>
                </a:lnTo>
                <a:lnTo>
                  <a:pt x="247500" y="120068"/>
                </a:lnTo>
                <a:lnTo>
                  <a:pt x="247295" y="120068"/>
                </a:lnTo>
                <a:lnTo>
                  <a:pt x="254148" y="115057"/>
                </a:lnTo>
                <a:lnTo>
                  <a:pt x="254045" y="114955"/>
                </a:lnTo>
                <a:lnTo>
                  <a:pt x="258648" y="109432"/>
                </a:lnTo>
                <a:lnTo>
                  <a:pt x="259261" y="106773"/>
                </a:lnTo>
                <a:lnTo>
                  <a:pt x="258648" y="104932"/>
                </a:lnTo>
                <a:lnTo>
                  <a:pt x="258034" y="104420"/>
                </a:lnTo>
                <a:lnTo>
                  <a:pt x="257932" y="103193"/>
                </a:lnTo>
                <a:lnTo>
                  <a:pt x="257318" y="103193"/>
                </a:lnTo>
                <a:lnTo>
                  <a:pt x="257318" y="103091"/>
                </a:lnTo>
                <a:lnTo>
                  <a:pt x="257114" y="103091"/>
                </a:lnTo>
                <a:lnTo>
                  <a:pt x="256909" y="101148"/>
                </a:lnTo>
                <a:lnTo>
                  <a:pt x="254966" y="99614"/>
                </a:lnTo>
                <a:lnTo>
                  <a:pt x="254761" y="95318"/>
                </a:lnTo>
                <a:lnTo>
                  <a:pt x="254250" y="94807"/>
                </a:lnTo>
                <a:lnTo>
                  <a:pt x="253739" y="94909"/>
                </a:lnTo>
                <a:lnTo>
                  <a:pt x="252920" y="91227"/>
                </a:lnTo>
                <a:lnTo>
                  <a:pt x="252818" y="91125"/>
                </a:lnTo>
                <a:close/>
                <a:moveTo>
                  <a:pt x="272352" y="115466"/>
                </a:moveTo>
                <a:lnTo>
                  <a:pt x="272352" y="116591"/>
                </a:lnTo>
                <a:lnTo>
                  <a:pt x="272659" y="116386"/>
                </a:lnTo>
                <a:lnTo>
                  <a:pt x="272352" y="116693"/>
                </a:lnTo>
                <a:lnTo>
                  <a:pt x="272352" y="117511"/>
                </a:lnTo>
                <a:lnTo>
                  <a:pt x="272557" y="117000"/>
                </a:lnTo>
                <a:lnTo>
                  <a:pt x="272557" y="117307"/>
                </a:lnTo>
                <a:lnTo>
                  <a:pt x="272659" y="117205"/>
                </a:lnTo>
                <a:lnTo>
                  <a:pt x="272455" y="117716"/>
                </a:lnTo>
                <a:lnTo>
                  <a:pt x="272352" y="117614"/>
                </a:lnTo>
                <a:lnTo>
                  <a:pt x="272352" y="118125"/>
                </a:lnTo>
                <a:lnTo>
                  <a:pt x="272659" y="118227"/>
                </a:lnTo>
                <a:lnTo>
                  <a:pt x="272352" y="118330"/>
                </a:lnTo>
                <a:lnTo>
                  <a:pt x="272352" y="118227"/>
                </a:lnTo>
                <a:lnTo>
                  <a:pt x="270920" y="120170"/>
                </a:lnTo>
                <a:lnTo>
                  <a:pt x="270205" y="120477"/>
                </a:lnTo>
                <a:lnTo>
                  <a:pt x="270716" y="121398"/>
                </a:lnTo>
                <a:lnTo>
                  <a:pt x="269386" y="122523"/>
                </a:lnTo>
                <a:lnTo>
                  <a:pt x="269591" y="122420"/>
                </a:lnTo>
                <a:lnTo>
                  <a:pt x="269489" y="122625"/>
                </a:lnTo>
                <a:lnTo>
                  <a:pt x="270102" y="122625"/>
                </a:lnTo>
                <a:lnTo>
                  <a:pt x="275216" y="118739"/>
                </a:lnTo>
                <a:lnTo>
                  <a:pt x="274091" y="119148"/>
                </a:lnTo>
                <a:lnTo>
                  <a:pt x="273273" y="118739"/>
                </a:lnTo>
                <a:lnTo>
                  <a:pt x="273580" y="117818"/>
                </a:lnTo>
                <a:lnTo>
                  <a:pt x="273477" y="117818"/>
                </a:lnTo>
                <a:lnTo>
                  <a:pt x="273477" y="117614"/>
                </a:lnTo>
                <a:lnTo>
                  <a:pt x="273170" y="118330"/>
                </a:lnTo>
                <a:lnTo>
                  <a:pt x="272659" y="117920"/>
                </a:lnTo>
                <a:lnTo>
                  <a:pt x="273273" y="116284"/>
                </a:lnTo>
                <a:lnTo>
                  <a:pt x="273068" y="116386"/>
                </a:lnTo>
                <a:lnTo>
                  <a:pt x="272761" y="115875"/>
                </a:lnTo>
                <a:lnTo>
                  <a:pt x="272557" y="115977"/>
                </a:lnTo>
                <a:lnTo>
                  <a:pt x="272557" y="115977"/>
                </a:lnTo>
                <a:lnTo>
                  <a:pt x="272659" y="115466"/>
                </a:lnTo>
                <a:close/>
                <a:moveTo>
                  <a:pt x="246959" y="123166"/>
                </a:moveTo>
                <a:lnTo>
                  <a:pt x="246901" y="123224"/>
                </a:lnTo>
                <a:lnTo>
                  <a:pt x="246901" y="123224"/>
                </a:lnTo>
                <a:lnTo>
                  <a:pt x="246959" y="123166"/>
                </a:lnTo>
                <a:close/>
                <a:moveTo>
                  <a:pt x="246901" y="123224"/>
                </a:moveTo>
                <a:lnTo>
                  <a:pt x="246886" y="123239"/>
                </a:lnTo>
                <a:lnTo>
                  <a:pt x="246784" y="123443"/>
                </a:lnTo>
                <a:lnTo>
                  <a:pt x="246784" y="123443"/>
                </a:lnTo>
                <a:lnTo>
                  <a:pt x="246901" y="123224"/>
                </a:lnTo>
                <a:close/>
                <a:moveTo>
                  <a:pt x="244841" y="121807"/>
                </a:moveTo>
                <a:lnTo>
                  <a:pt x="244330" y="123341"/>
                </a:lnTo>
                <a:lnTo>
                  <a:pt x="244432" y="123341"/>
                </a:lnTo>
                <a:lnTo>
                  <a:pt x="244330" y="123648"/>
                </a:lnTo>
                <a:lnTo>
                  <a:pt x="244227" y="123443"/>
                </a:lnTo>
                <a:lnTo>
                  <a:pt x="244330" y="124466"/>
                </a:lnTo>
                <a:lnTo>
                  <a:pt x="244023" y="124670"/>
                </a:lnTo>
                <a:lnTo>
                  <a:pt x="244739" y="124670"/>
                </a:lnTo>
                <a:lnTo>
                  <a:pt x="245659" y="123955"/>
                </a:lnTo>
                <a:lnTo>
                  <a:pt x="245557" y="124159"/>
                </a:lnTo>
                <a:lnTo>
                  <a:pt x="245557" y="124159"/>
                </a:lnTo>
                <a:lnTo>
                  <a:pt x="245966" y="124057"/>
                </a:lnTo>
                <a:lnTo>
                  <a:pt x="245761" y="124364"/>
                </a:lnTo>
                <a:lnTo>
                  <a:pt x="246901" y="123224"/>
                </a:lnTo>
                <a:lnTo>
                  <a:pt x="247602" y="121909"/>
                </a:lnTo>
                <a:lnTo>
                  <a:pt x="246375" y="122318"/>
                </a:lnTo>
                <a:lnTo>
                  <a:pt x="244841" y="121807"/>
                </a:lnTo>
                <a:close/>
                <a:moveTo>
                  <a:pt x="265623" y="124957"/>
                </a:moveTo>
                <a:lnTo>
                  <a:pt x="265500" y="124977"/>
                </a:lnTo>
                <a:lnTo>
                  <a:pt x="265705" y="124977"/>
                </a:lnTo>
                <a:lnTo>
                  <a:pt x="265623" y="124957"/>
                </a:lnTo>
                <a:close/>
                <a:moveTo>
                  <a:pt x="268568" y="121705"/>
                </a:moveTo>
                <a:lnTo>
                  <a:pt x="265091" y="124057"/>
                </a:lnTo>
                <a:lnTo>
                  <a:pt x="265193" y="123852"/>
                </a:lnTo>
                <a:lnTo>
                  <a:pt x="265193" y="123852"/>
                </a:lnTo>
                <a:lnTo>
                  <a:pt x="264784" y="124159"/>
                </a:lnTo>
                <a:lnTo>
                  <a:pt x="264580" y="124261"/>
                </a:lnTo>
                <a:lnTo>
                  <a:pt x="264375" y="124261"/>
                </a:lnTo>
                <a:lnTo>
                  <a:pt x="264375" y="124364"/>
                </a:lnTo>
                <a:lnTo>
                  <a:pt x="260489" y="126102"/>
                </a:lnTo>
                <a:lnTo>
                  <a:pt x="260489" y="126102"/>
                </a:lnTo>
                <a:lnTo>
                  <a:pt x="260591" y="126000"/>
                </a:lnTo>
                <a:lnTo>
                  <a:pt x="259466" y="126818"/>
                </a:lnTo>
                <a:lnTo>
                  <a:pt x="259670" y="126818"/>
                </a:lnTo>
                <a:lnTo>
                  <a:pt x="259364" y="126920"/>
                </a:lnTo>
                <a:lnTo>
                  <a:pt x="259568" y="126920"/>
                </a:lnTo>
                <a:lnTo>
                  <a:pt x="259063" y="127173"/>
                </a:lnTo>
                <a:lnTo>
                  <a:pt x="259063" y="127173"/>
                </a:lnTo>
                <a:lnTo>
                  <a:pt x="259159" y="127125"/>
                </a:lnTo>
                <a:lnTo>
                  <a:pt x="258955" y="127330"/>
                </a:lnTo>
                <a:lnTo>
                  <a:pt x="259261" y="127227"/>
                </a:lnTo>
                <a:lnTo>
                  <a:pt x="258955" y="127432"/>
                </a:lnTo>
                <a:lnTo>
                  <a:pt x="259670" y="127636"/>
                </a:lnTo>
                <a:lnTo>
                  <a:pt x="259875" y="127841"/>
                </a:lnTo>
                <a:lnTo>
                  <a:pt x="265295" y="124875"/>
                </a:lnTo>
                <a:lnTo>
                  <a:pt x="265623" y="124957"/>
                </a:lnTo>
                <a:lnTo>
                  <a:pt x="265623" y="124957"/>
                </a:lnTo>
                <a:lnTo>
                  <a:pt x="266114" y="124875"/>
                </a:lnTo>
                <a:lnTo>
                  <a:pt x="266011" y="124670"/>
                </a:lnTo>
                <a:lnTo>
                  <a:pt x="265909" y="124670"/>
                </a:lnTo>
                <a:lnTo>
                  <a:pt x="269284" y="122318"/>
                </a:lnTo>
                <a:lnTo>
                  <a:pt x="268875" y="122420"/>
                </a:lnTo>
                <a:lnTo>
                  <a:pt x="268875" y="122420"/>
                </a:lnTo>
                <a:lnTo>
                  <a:pt x="269080" y="122318"/>
                </a:lnTo>
                <a:lnTo>
                  <a:pt x="269284" y="122216"/>
                </a:lnTo>
                <a:lnTo>
                  <a:pt x="269284" y="122216"/>
                </a:lnTo>
                <a:lnTo>
                  <a:pt x="268670" y="122420"/>
                </a:lnTo>
                <a:lnTo>
                  <a:pt x="269080" y="122114"/>
                </a:lnTo>
                <a:lnTo>
                  <a:pt x="268159" y="122420"/>
                </a:lnTo>
                <a:lnTo>
                  <a:pt x="268261" y="122011"/>
                </a:lnTo>
                <a:lnTo>
                  <a:pt x="268568" y="121705"/>
                </a:lnTo>
                <a:close/>
                <a:moveTo>
                  <a:pt x="76909" y="132648"/>
                </a:moveTo>
                <a:lnTo>
                  <a:pt x="77216" y="132852"/>
                </a:lnTo>
                <a:lnTo>
                  <a:pt x="77011" y="132955"/>
                </a:lnTo>
                <a:lnTo>
                  <a:pt x="77216" y="133057"/>
                </a:lnTo>
                <a:lnTo>
                  <a:pt x="76807" y="133261"/>
                </a:lnTo>
                <a:lnTo>
                  <a:pt x="77625" y="133057"/>
                </a:lnTo>
                <a:lnTo>
                  <a:pt x="77830" y="132750"/>
                </a:lnTo>
                <a:lnTo>
                  <a:pt x="76909" y="132648"/>
                </a:lnTo>
                <a:close/>
                <a:moveTo>
                  <a:pt x="78136" y="132545"/>
                </a:moveTo>
                <a:lnTo>
                  <a:pt x="78136" y="133261"/>
                </a:lnTo>
                <a:lnTo>
                  <a:pt x="78648" y="133364"/>
                </a:lnTo>
                <a:lnTo>
                  <a:pt x="78545" y="133159"/>
                </a:lnTo>
                <a:lnTo>
                  <a:pt x="78852" y="133057"/>
                </a:lnTo>
                <a:lnTo>
                  <a:pt x="78955" y="132852"/>
                </a:lnTo>
                <a:lnTo>
                  <a:pt x="79057" y="132750"/>
                </a:lnTo>
                <a:lnTo>
                  <a:pt x="78750" y="132852"/>
                </a:lnTo>
                <a:lnTo>
                  <a:pt x="78443" y="132648"/>
                </a:lnTo>
                <a:lnTo>
                  <a:pt x="78545" y="132648"/>
                </a:lnTo>
                <a:lnTo>
                  <a:pt x="78136" y="132545"/>
                </a:lnTo>
                <a:close/>
                <a:moveTo>
                  <a:pt x="78136" y="133261"/>
                </a:moveTo>
                <a:lnTo>
                  <a:pt x="78136" y="133568"/>
                </a:lnTo>
                <a:lnTo>
                  <a:pt x="78341" y="133364"/>
                </a:lnTo>
                <a:lnTo>
                  <a:pt x="78136" y="133261"/>
                </a:lnTo>
                <a:close/>
                <a:moveTo>
                  <a:pt x="68830" y="133875"/>
                </a:moveTo>
                <a:lnTo>
                  <a:pt x="67970" y="133970"/>
                </a:lnTo>
                <a:lnTo>
                  <a:pt x="67970" y="133970"/>
                </a:lnTo>
                <a:lnTo>
                  <a:pt x="68114" y="133875"/>
                </a:lnTo>
                <a:close/>
                <a:moveTo>
                  <a:pt x="63920" y="8386"/>
                </a:moveTo>
                <a:lnTo>
                  <a:pt x="62795" y="8795"/>
                </a:lnTo>
                <a:lnTo>
                  <a:pt x="63000" y="8795"/>
                </a:lnTo>
                <a:lnTo>
                  <a:pt x="62182" y="9000"/>
                </a:lnTo>
                <a:lnTo>
                  <a:pt x="61568" y="10330"/>
                </a:lnTo>
                <a:lnTo>
                  <a:pt x="62693" y="10534"/>
                </a:lnTo>
                <a:lnTo>
                  <a:pt x="62693" y="10636"/>
                </a:lnTo>
                <a:lnTo>
                  <a:pt x="62386" y="10739"/>
                </a:lnTo>
                <a:lnTo>
                  <a:pt x="62591" y="10636"/>
                </a:lnTo>
                <a:lnTo>
                  <a:pt x="61977" y="10841"/>
                </a:lnTo>
                <a:lnTo>
                  <a:pt x="62080" y="10841"/>
                </a:lnTo>
                <a:lnTo>
                  <a:pt x="61568" y="11148"/>
                </a:lnTo>
                <a:lnTo>
                  <a:pt x="62182" y="11250"/>
                </a:lnTo>
                <a:lnTo>
                  <a:pt x="60136" y="12068"/>
                </a:lnTo>
                <a:lnTo>
                  <a:pt x="59727" y="12784"/>
                </a:lnTo>
                <a:lnTo>
                  <a:pt x="59216" y="12784"/>
                </a:lnTo>
                <a:lnTo>
                  <a:pt x="59216" y="13091"/>
                </a:lnTo>
                <a:lnTo>
                  <a:pt x="59114" y="12682"/>
                </a:lnTo>
                <a:lnTo>
                  <a:pt x="59420" y="12682"/>
                </a:lnTo>
                <a:lnTo>
                  <a:pt x="59727" y="12477"/>
                </a:lnTo>
                <a:lnTo>
                  <a:pt x="59420" y="12477"/>
                </a:lnTo>
                <a:lnTo>
                  <a:pt x="60239" y="11557"/>
                </a:lnTo>
                <a:lnTo>
                  <a:pt x="59523" y="11761"/>
                </a:lnTo>
                <a:lnTo>
                  <a:pt x="59523" y="11761"/>
                </a:lnTo>
                <a:lnTo>
                  <a:pt x="59932" y="11557"/>
                </a:lnTo>
                <a:lnTo>
                  <a:pt x="59523" y="11557"/>
                </a:lnTo>
                <a:lnTo>
                  <a:pt x="59420" y="11352"/>
                </a:lnTo>
                <a:lnTo>
                  <a:pt x="58602" y="11455"/>
                </a:lnTo>
                <a:lnTo>
                  <a:pt x="58500" y="11864"/>
                </a:lnTo>
                <a:lnTo>
                  <a:pt x="59114" y="11966"/>
                </a:lnTo>
                <a:lnTo>
                  <a:pt x="58500" y="12068"/>
                </a:lnTo>
                <a:lnTo>
                  <a:pt x="58295" y="11761"/>
                </a:lnTo>
                <a:lnTo>
                  <a:pt x="58295" y="11966"/>
                </a:lnTo>
                <a:lnTo>
                  <a:pt x="54307" y="11557"/>
                </a:lnTo>
                <a:lnTo>
                  <a:pt x="53795" y="11045"/>
                </a:lnTo>
                <a:lnTo>
                  <a:pt x="51750" y="11557"/>
                </a:lnTo>
                <a:lnTo>
                  <a:pt x="54000" y="11250"/>
                </a:lnTo>
                <a:lnTo>
                  <a:pt x="54000" y="11250"/>
                </a:lnTo>
                <a:lnTo>
                  <a:pt x="52057" y="11966"/>
                </a:lnTo>
                <a:lnTo>
                  <a:pt x="51239" y="13193"/>
                </a:lnTo>
                <a:lnTo>
                  <a:pt x="50932" y="12068"/>
                </a:lnTo>
                <a:lnTo>
                  <a:pt x="50727" y="11966"/>
                </a:lnTo>
                <a:lnTo>
                  <a:pt x="50625" y="11864"/>
                </a:lnTo>
                <a:lnTo>
                  <a:pt x="46943" y="11864"/>
                </a:lnTo>
                <a:lnTo>
                  <a:pt x="48375" y="11455"/>
                </a:lnTo>
                <a:lnTo>
                  <a:pt x="42341" y="10636"/>
                </a:lnTo>
                <a:lnTo>
                  <a:pt x="42852" y="10330"/>
                </a:lnTo>
                <a:lnTo>
                  <a:pt x="43057" y="9920"/>
                </a:lnTo>
                <a:lnTo>
                  <a:pt x="42545" y="10023"/>
                </a:lnTo>
                <a:lnTo>
                  <a:pt x="42750" y="10125"/>
                </a:lnTo>
                <a:lnTo>
                  <a:pt x="41420" y="10636"/>
                </a:lnTo>
                <a:lnTo>
                  <a:pt x="41420" y="9920"/>
                </a:lnTo>
                <a:lnTo>
                  <a:pt x="40909" y="9716"/>
                </a:lnTo>
                <a:lnTo>
                  <a:pt x="40909" y="9716"/>
                </a:lnTo>
                <a:lnTo>
                  <a:pt x="41011" y="9818"/>
                </a:lnTo>
                <a:lnTo>
                  <a:pt x="41114" y="9818"/>
                </a:lnTo>
                <a:lnTo>
                  <a:pt x="39580" y="10330"/>
                </a:lnTo>
                <a:lnTo>
                  <a:pt x="39989" y="10125"/>
                </a:lnTo>
                <a:lnTo>
                  <a:pt x="37841" y="10739"/>
                </a:lnTo>
                <a:lnTo>
                  <a:pt x="38045" y="10534"/>
                </a:lnTo>
                <a:lnTo>
                  <a:pt x="37739" y="10636"/>
                </a:lnTo>
                <a:lnTo>
                  <a:pt x="37841" y="10636"/>
                </a:lnTo>
                <a:lnTo>
                  <a:pt x="36409" y="11045"/>
                </a:lnTo>
                <a:lnTo>
                  <a:pt x="36102" y="11045"/>
                </a:lnTo>
                <a:lnTo>
                  <a:pt x="35898" y="11148"/>
                </a:lnTo>
                <a:lnTo>
                  <a:pt x="35898" y="11045"/>
                </a:lnTo>
                <a:lnTo>
                  <a:pt x="36102" y="11045"/>
                </a:lnTo>
                <a:lnTo>
                  <a:pt x="39682" y="9920"/>
                </a:lnTo>
                <a:lnTo>
                  <a:pt x="37330" y="10330"/>
                </a:lnTo>
                <a:lnTo>
                  <a:pt x="37432" y="10330"/>
                </a:lnTo>
                <a:lnTo>
                  <a:pt x="35795" y="10739"/>
                </a:lnTo>
                <a:lnTo>
                  <a:pt x="36307" y="10534"/>
                </a:lnTo>
                <a:lnTo>
                  <a:pt x="34466" y="10841"/>
                </a:lnTo>
                <a:lnTo>
                  <a:pt x="34670" y="10943"/>
                </a:lnTo>
                <a:lnTo>
                  <a:pt x="34364" y="11045"/>
                </a:lnTo>
                <a:lnTo>
                  <a:pt x="34568" y="11148"/>
                </a:lnTo>
                <a:lnTo>
                  <a:pt x="25466" y="9716"/>
                </a:lnTo>
                <a:lnTo>
                  <a:pt x="25773" y="9614"/>
                </a:lnTo>
                <a:lnTo>
                  <a:pt x="25466" y="9614"/>
                </a:lnTo>
                <a:lnTo>
                  <a:pt x="25466" y="9511"/>
                </a:lnTo>
                <a:lnTo>
                  <a:pt x="25364" y="9511"/>
                </a:lnTo>
                <a:lnTo>
                  <a:pt x="25773" y="9409"/>
                </a:lnTo>
                <a:lnTo>
                  <a:pt x="24239" y="9307"/>
                </a:lnTo>
                <a:lnTo>
                  <a:pt x="24341" y="9205"/>
                </a:lnTo>
                <a:lnTo>
                  <a:pt x="23318" y="9409"/>
                </a:lnTo>
                <a:lnTo>
                  <a:pt x="23318" y="9307"/>
                </a:lnTo>
                <a:lnTo>
                  <a:pt x="24034" y="9102"/>
                </a:lnTo>
                <a:lnTo>
                  <a:pt x="23625" y="9000"/>
                </a:lnTo>
                <a:lnTo>
                  <a:pt x="23727" y="8898"/>
                </a:lnTo>
                <a:lnTo>
                  <a:pt x="23727" y="8898"/>
                </a:lnTo>
                <a:lnTo>
                  <a:pt x="21068" y="9409"/>
                </a:lnTo>
                <a:lnTo>
                  <a:pt x="21068" y="9409"/>
                </a:lnTo>
                <a:lnTo>
                  <a:pt x="21273" y="9307"/>
                </a:lnTo>
                <a:lnTo>
                  <a:pt x="20455" y="9511"/>
                </a:lnTo>
                <a:lnTo>
                  <a:pt x="20761" y="9614"/>
                </a:lnTo>
                <a:lnTo>
                  <a:pt x="20148" y="9818"/>
                </a:lnTo>
                <a:lnTo>
                  <a:pt x="20045" y="9818"/>
                </a:lnTo>
                <a:lnTo>
                  <a:pt x="20455" y="9614"/>
                </a:lnTo>
                <a:lnTo>
                  <a:pt x="18637" y="9901"/>
                </a:lnTo>
                <a:lnTo>
                  <a:pt x="18637" y="9901"/>
                </a:lnTo>
                <a:lnTo>
                  <a:pt x="13295" y="11455"/>
                </a:lnTo>
                <a:lnTo>
                  <a:pt x="13398" y="11455"/>
                </a:lnTo>
                <a:lnTo>
                  <a:pt x="13193" y="11557"/>
                </a:lnTo>
                <a:lnTo>
                  <a:pt x="14011" y="12273"/>
                </a:lnTo>
                <a:lnTo>
                  <a:pt x="13909" y="12682"/>
                </a:lnTo>
                <a:lnTo>
                  <a:pt x="14625" y="12580"/>
                </a:lnTo>
                <a:lnTo>
                  <a:pt x="14625" y="12580"/>
                </a:lnTo>
                <a:lnTo>
                  <a:pt x="14523" y="12682"/>
                </a:lnTo>
                <a:lnTo>
                  <a:pt x="14932" y="12682"/>
                </a:lnTo>
                <a:lnTo>
                  <a:pt x="14523" y="12989"/>
                </a:lnTo>
                <a:lnTo>
                  <a:pt x="15341" y="13091"/>
                </a:lnTo>
                <a:lnTo>
                  <a:pt x="14727" y="13193"/>
                </a:lnTo>
                <a:lnTo>
                  <a:pt x="14523" y="12989"/>
                </a:lnTo>
                <a:lnTo>
                  <a:pt x="14420" y="12886"/>
                </a:lnTo>
                <a:lnTo>
                  <a:pt x="14420" y="12784"/>
                </a:lnTo>
                <a:lnTo>
                  <a:pt x="14114" y="12989"/>
                </a:lnTo>
                <a:lnTo>
                  <a:pt x="14114" y="13295"/>
                </a:lnTo>
                <a:lnTo>
                  <a:pt x="14523" y="13295"/>
                </a:lnTo>
                <a:lnTo>
                  <a:pt x="14420" y="13398"/>
                </a:lnTo>
                <a:lnTo>
                  <a:pt x="12375" y="13398"/>
                </a:lnTo>
                <a:lnTo>
                  <a:pt x="12886" y="13091"/>
                </a:lnTo>
                <a:lnTo>
                  <a:pt x="11250" y="13398"/>
                </a:lnTo>
                <a:lnTo>
                  <a:pt x="11352" y="13398"/>
                </a:lnTo>
                <a:lnTo>
                  <a:pt x="9205" y="13909"/>
                </a:lnTo>
                <a:lnTo>
                  <a:pt x="9818" y="14216"/>
                </a:lnTo>
                <a:lnTo>
                  <a:pt x="9102" y="14318"/>
                </a:lnTo>
                <a:lnTo>
                  <a:pt x="9205" y="14523"/>
                </a:lnTo>
                <a:lnTo>
                  <a:pt x="9102" y="14932"/>
                </a:lnTo>
                <a:lnTo>
                  <a:pt x="11045" y="14932"/>
                </a:lnTo>
                <a:lnTo>
                  <a:pt x="11045" y="15034"/>
                </a:lnTo>
                <a:lnTo>
                  <a:pt x="12580" y="14625"/>
                </a:lnTo>
                <a:lnTo>
                  <a:pt x="12784" y="14830"/>
                </a:lnTo>
                <a:lnTo>
                  <a:pt x="12068" y="15034"/>
                </a:lnTo>
                <a:lnTo>
                  <a:pt x="11659" y="15648"/>
                </a:lnTo>
                <a:lnTo>
                  <a:pt x="10534" y="15852"/>
                </a:lnTo>
                <a:lnTo>
                  <a:pt x="8795" y="16261"/>
                </a:lnTo>
                <a:lnTo>
                  <a:pt x="8489" y="16159"/>
                </a:lnTo>
                <a:lnTo>
                  <a:pt x="7745" y="16624"/>
                </a:lnTo>
                <a:lnTo>
                  <a:pt x="7745" y="16624"/>
                </a:lnTo>
                <a:lnTo>
                  <a:pt x="5727" y="17489"/>
                </a:lnTo>
                <a:lnTo>
                  <a:pt x="5830" y="17489"/>
                </a:lnTo>
                <a:lnTo>
                  <a:pt x="5420" y="17693"/>
                </a:lnTo>
                <a:lnTo>
                  <a:pt x="5625" y="17693"/>
                </a:lnTo>
                <a:lnTo>
                  <a:pt x="5318" y="17898"/>
                </a:lnTo>
                <a:lnTo>
                  <a:pt x="5420" y="17898"/>
                </a:lnTo>
                <a:lnTo>
                  <a:pt x="5318" y="18102"/>
                </a:lnTo>
                <a:lnTo>
                  <a:pt x="5318" y="18102"/>
                </a:lnTo>
                <a:lnTo>
                  <a:pt x="5727" y="17898"/>
                </a:lnTo>
                <a:lnTo>
                  <a:pt x="5625" y="18000"/>
                </a:lnTo>
                <a:lnTo>
                  <a:pt x="5727" y="18000"/>
                </a:lnTo>
                <a:lnTo>
                  <a:pt x="5625" y="18102"/>
                </a:lnTo>
                <a:lnTo>
                  <a:pt x="5830" y="18102"/>
                </a:lnTo>
                <a:lnTo>
                  <a:pt x="5420" y="18205"/>
                </a:lnTo>
                <a:lnTo>
                  <a:pt x="6545" y="18307"/>
                </a:lnTo>
                <a:lnTo>
                  <a:pt x="6239" y="18307"/>
                </a:lnTo>
                <a:lnTo>
                  <a:pt x="6443" y="18409"/>
                </a:lnTo>
                <a:lnTo>
                  <a:pt x="6034" y="18614"/>
                </a:lnTo>
                <a:lnTo>
                  <a:pt x="6034" y="18614"/>
                </a:lnTo>
                <a:lnTo>
                  <a:pt x="6136" y="18409"/>
                </a:lnTo>
                <a:lnTo>
                  <a:pt x="5625" y="18511"/>
                </a:lnTo>
                <a:lnTo>
                  <a:pt x="5625" y="18307"/>
                </a:lnTo>
                <a:lnTo>
                  <a:pt x="4807" y="18614"/>
                </a:lnTo>
                <a:lnTo>
                  <a:pt x="5011" y="18614"/>
                </a:lnTo>
                <a:lnTo>
                  <a:pt x="5011" y="19227"/>
                </a:lnTo>
                <a:lnTo>
                  <a:pt x="7466" y="18511"/>
                </a:lnTo>
                <a:lnTo>
                  <a:pt x="7466" y="18511"/>
                </a:lnTo>
                <a:lnTo>
                  <a:pt x="5727" y="19943"/>
                </a:lnTo>
                <a:lnTo>
                  <a:pt x="5932" y="19943"/>
                </a:lnTo>
                <a:lnTo>
                  <a:pt x="5011" y="20352"/>
                </a:lnTo>
                <a:lnTo>
                  <a:pt x="6750" y="20045"/>
                </a:lnTo>
                <a:lnTo>
                  <a:pt x="7159" y="20352"/>
                </a:lnTo>
                <a:lnTo>
                  <a:pt x="8386" y="20045"/>
                </a:lnTo>
                <a:lnTo>
                  <a:pt x="8386" y="20045"/>
                </a:lnTo>
                <a:lnTo>
                  <a:pt x="7875" y="20352"/>
                </a:lnTo>
                <a:lnTo>
                  <a:pt x="7875" y="20352"/>
                </a:lnTo>
                <a:lnTo>
                  <a:pt x="9511" y="19943"/>
                </a:lnTo>
                <a:lnTo>
                  <a:pt x="8080" y="20761"/>
                </a:lnTo>
                <a:lnTo>
                  <a:pt x="8182" y="20864"/>
                </a:lnTo>
                <a:lnTo>
                  <a:pt x="5523" y="22193"/>
                </a:lnTo>
                <a:lnTo>
                  <a:pt x="5523" y="22091"/>
                </a:lnTo>
                <a:lnTo>
                  <a:pt x="3375" y="22909"/>
                </a:lnTo>
                <a:lnTo>
                  <a:pt x="3375" y="23114"/>
                </a:lnTo>
                <a:lnTo>
                  <a:pt x="3170" y="23011"/>
                </a:lnTo>
                <a:lnTo>
                  <a:pt x="2966" y="23114"/>
                </a:lnTo>
                <a:lnTo>
                  <a:pt x="2966" y="23114"/>
                </a:lnTo>
                <a:lnTo>
                  <a:pt x="3170" y="22909"/>
                </a:lnTo>
                <a:lnTo>
                  <a:pt x="2864" y="23011"/>
                </a:lnTo>
                <a:lnTo>
                  <a:pt x="2864" y="23011"/>
                </a:lnTo>
                <a:lnTo>
                  <a:pt x="2966" y="22909"/>
                </a:lnTo>
                <a:lnTo>
                  <a:pt x="1120" y="23634"/>
                </a:lnTo>
                <a:lnTo>
                  <a:pt x="1120" y="23634"/>
                </a:lnTo>
                <a:lnTo>
                  <a:pt x="1023" y="23830"/>
                </a:lnTo>
                <a:lnTo>
                  <a:pt x="2276" y="23472"/>
                </a:lnTo>
                <a:lnTo>
                  <a:pt x="2276" y="23472"/>
                </a:lnTo>
                <a:lnTo>
                  <a:pt x="3886" y="23114"/>
                </a:lnTo>
                <a:lnTo>
                  <a:pt x="3682" y="23318"/>
                </a:lnTo>
                <a:lnTo>
                  <a:pt x="5069" y="22823"/>
                </a:lnTo>
                <a:lnTo>
                  <a:pt x="5069" y="22823"/>
                </a:lnTo>
                <a:lnTo>
                  <a:pt x="5216" y="22602"/>
                </a:lnTo>
                <a:lnTo>
                  <a:pt x="5932" y="22398"/>
                </a:lnTo>
                <a:lnTo>
                  <a:pt x="5830" y="22398"/>
                </a:lnTo>
                <a:lnTo>
                  <a:pt x="10534" y="20761"/>
                </a:lnTo>
                <a:lnTo>
                  <a:pt x="10432" y="20761"/>
                </a:lnTo>
                <a:lnTo>
                  <a:pt x="11352" y="20352"/>
                </a:lnTo>
                <a:lnTo>
                  <a:pt x="11455" y="19943"/>
                </a:lnTo>
                <a:lnTo>
                  <a:pt x="12580" y="19330"/>
                </a:lnTo>
                <a:lnTo>
                  <a:pt x="12580" y="19432"/>
                </a:lnTo>
                <a:lnTo>
                  <a:pt x="12886" y="19330"/>
                </a:lnTo>
                <a:lnTo>
                  <a:pt x="12886" y="19227"/>
                </a:lnTo>
                <a:lnTo>
                  <a:pt x="17386" y="17693"/>
                </a:lnTo>
                <a:lnTo>
                  <a:pt x="16568" y="18102"/>
                </a:lnTo>
                <a:lnTo>
                  <a:pt x="16875" y="18205"/>
                </a:lnTo>
                <a:lnTo>
                  <a:pt x="16875" y="18307"/>
                </a:lnTo>
                <a:lnTo>
                  <a:pt x="14011" y="19125"/>
                </a:lnTo>
                <a:lnTo>
                  <a:pt x="14318" y="19330"/>
                </a:lnTo>
                <a:lnTo>
                  <a:pt x="13193" y="19841"/>
                </a:lnTo>
                <a:lnTo>
                  <a:pt x="15443" y="19227"/>
                </a:lnTo>
                <a:lnTo>
                  <a:pt x="15443" y="19227"/>
                </a:lnTo>
                <a:lnTo>
                  <a:pt x="15341" y="19330"/>
                </a:lnTo>
                <a:lnTo>
                  <a:pt x="15852" y="19023"/>
                </a:lnTo>
                <a:lnTo>
                  <a:pt x="15852" y="19125"/>
                </a:lnTo>
                <a:lnTo>
                  <a:pt x="17284" y="18614"/>
                </a:lnTo>
                <a:lnTo>
                  <a:pt x="16875" y="18614"/>
                </a:lnTo>
                <a:lnTo>
                  <a:pt x="17284" y="18409"/>
                </a:lnTo>
                <a:lnTo>
                  <a:pt x="17182" y="18409"/>
                </a:lnTo>
                <a:lnTo>
                  <a:pt x="17554" y="18186"/>
                </a:lnTo>
                <a:lnTo>
                  <a:pt x="17554" y="18186"/>
                </a:lnTo>
                <a:lnTo>
                  <a:pt x="18205" y="18000"/>
                </a:lnTo>
                <a:lnTo>
                  <a:pt x="18205" y="18000"/>
                </a:lnTo>
                <a:lnTo>
                  <a:pt x="17795" y="18307"/>
                </a:lnTo>
                <a:lnTo>
                  <a:pt x="19125" y="18102"/>
                </a:lnTo>
                <a:lnTo>
                  <a:pt x="18614" y="18409"/>
                </a:lnTo>
                <a:lnTo>
                  <a:pt x="18818" y="18409"/>
                </a:lnTo>
                <a:lnTo>
                  <a:pt x="18818" y="18511"/>
                </a:lnTo>
                <a:lnTo>
                  <a:pt x="19125" y="18511"/>
                </a:lnTo>
                <a:lnTo>
                  <a:pt x="18818" y="18716"/>
                </a:lnTo>
                <a:lnTo>
                  <a:pt x="19227" y="18716"/>
                </a:lnTo>
                <a:lnTo>
                  <a:pt x="19841" y="18511"/>
                </a:lnTo>
                <a:lnTo>
                  <a:pt x="19432" y="18920"/>
                </a:lnTo>
                <a:lnTo>
                  <a:pt x="19636" y="19125"/>
                </a:lnTo>
                <a:lnTo>
                  <a:pt x="21682" y="19023"/>
                </a:lnTo>
                <a:lnTo>
                  <a:pt x="21682" y="19023"/>
                </a:lnTo>
                <a:lnTo>
                  <a:pt x="21477" y="19227"/>
                </a:lnTo>
                <a:lnTo>
                  <a:pt x="23216" y="19227"/>
                </a:lnTo>
                <a:lnTo>
                  <a:pt x="22295" y="19534"/>
                </a:lnTo>
                <a:lnTo>
                  <a:pt x="22909" y="19943"/>
                </a:lnTo>
                <a:lnTo>
                  <a:pt x="22807" y="19943"/>
                </a:lnTo>
                <a:lnTo>
                  <a:pt x="23216" y="20659"/>
                </a:lnTo>
                <a:lnTo>
                  <a:pt x="23830" y="20659"/>
                </a:lnTo>
                <a:lnTo>
                  <a:pt x="23830" y="20455"/>
                </a:lnTo>
                <a:lnTo>
                  <a:pt x="24034" y="20352"/>
                </a:lnTo>
                <a:lnTo>
                  <a:pt x="23625" y="20148"/>
                </a:lnTo>
                <a:lnTo>
                  <a:pt x="24545" y="20045"/>
                </a:lnTo>
                <a:lnTo>
                  <a:pt x="24443" y="20148"/>
                </a:lnTo>
                <a:lnTo>
                  <a:pt x="24648" y="20148"/>
                </a:lnTo>
                <a:lnTo>
                  <a:pt x="24136" y="20659"/>
                </a:lnTo>
                <a:lnTo>
                  <a:pt x="24545" y="20761"/>
                </a:lnTo>
                <a:lnTo>
                  <a:pt x="25466" y="19636"/>
                </a:lnTo>
                <a:lnTo>
                  <a:pt x="24955" y="20557"/>
                </a:lnTo>
                <a:lnTo>
                  <a:pt x="25159" y="20761"/>
                </a:lnTo>
                <a:lnTo>
                  <a:pt x="25670" y="20557"/>
                </a:lnTo>
                <a:lnTo>
                  <a:pt x="25159" y="20966"/>
                </a:lnTo>
                <a:lnTo>
                  <a:pt x="25568" y="21170"/>
                </a:lnTo>
                <a:lnTo>
                  <a:pt x="24750" y="21784"/>
                </a:lnTo>
                <a:lnTo>
                  <a:pt x="25159" y="21886"/>
                </a:lnTo>
                <a:lnTo>
                  <a:pt x="25159" y="22193"/>
                </a:lnTo>
                <a:lnTo>
                  <a:pt x="25057" y="22295"/>
                </a:lnTo>
                <a:lnTo>
                  <a:pt x="25364" y="22705"/>
                </a:lnTo>
                <a:lnTo>
                  <a:pt x="24648" y="23114"/>
                </a:lnTo>
                <a:lnTo>
                  <a:pt x="24545" y="23420"/>
                </a:lnTo>
                <a:lnTo>
                  <a:pt x="25670" y="22807"/>
                </a:lnTo>
                <a:lnTo>
                  <a:pt x="24750" y="24136"/>
                </a:lnTo>
                <a:lnTo>
                  <a:pt x="26284" y="23011"/>
                </a:lnTo>
                <a:lnTo>
                  <a:pt x="26284" y="23011"/>
                </a:lnTo>
                <a:lnTo>
                  <a:pt x="25568" y="23830"/>
                </a:lnTo>
                <a:lnTo>
                  <a:pt x="25568" y="23830"/>
                </a:lnTo>
                <a:lnTo>
                  <a:pt x="26182" y="23318"/>
                </a:lnTo>
                <a:lnTo>
                  <a:pt x="26182" y="23495"/>
                </a:lnTo>
                <a:lnTo>
                  <a:pt x="26182" y="23495"/>
                </a:lnTo>
                <a:lnTo>
                  <a:pt x="24750" y="24545"/>
                </a:lnTo>
                <a:lnTo>
                  <a:pt x="25159" y="24648"/>
                </a:lnTo>
                <a:lnTo>
                  <a:pt x="24443" y="25364"/>
                </a:lnTo>
                <a:lnTo>
                  <a:pt x="24443" y="25568"/>
                </a:lnTo>
                <a:lnTo>
                  <a:pt x="25261" y="25261"/>
                </a:lnTo>
                <a:lnTo>
                  <a:pt x="25364" y="25159"/>
                </a:lnTo>
                <a:lnTo>
                  <a:pt x="25773" y="25057"/>
                </a:lnTo>
                <a:lnTo>
                  <a:pt x="25364" y="25261"/>
                </a:lnTo>
                <a:lnTo>
                  <a:pt x="25773" y="25568"/>
                </a:lnTo>
                <a:lnTo>
                  <a:pt x="25261" y="25261"/>
                </a:lnTo>
                <a:lnTo>
                  <a:pt x="24955" y="25466"/>
                </a:lnTo>
                <a:lnTo>
                  <a:pt x="25364" y="25977"/>
                </a:lnTo>
                <a:lnTo>
                  <a:pt x="24750" y="26489"/>
                </a:lnTo>
                <a:lnTo>
                  <a:pt x="24750" y="26489"/>
                </a:lnTo>
                <a:lnTo>
                  <a:pt x="25159" y="26284"/>
                </a:lnTo>
                <a:lnTo>
                  <a:pt x="24545" y="26693"/>
                </a:lnTo>
                <a:lnTo>
                  <a:pt x="24443" y="27000"/>
                </a:lnTo>
                <a:lnTo>
                  <a:pt x="26080" y="25977"/>
                </a:lnTo>
                <a:lnTo>
                  <a:pt x="25670" y="26386"/>
                </a:lnTo>
                <a:lnTo>
                  <a:pt x="25773" y="26795"/>
                </a:lnTo>
                <a:lnTo>
                  <a:pt x="25568" y="26489"/>
                </a:lnTo>
                <a:lnTo>
                  <a:pt x="24852" y="26795"/>
                </a:lnTo>
                <a:lnTo>
                  <a:pt x="24955" y="26795"/>
                </a:lnTo>
                <a:lnTo>
                  <a:pt x="24545" y="27307"/>
                </a:lnTo>
                <a:lnTo>
                  <a:pt x="25466" y="27102"/>
                </a:lnTo>
                <a:lnTo>
                  <a:pt x="24341" y="27614"/>
                </a:lnTo>
                <a:lnTo>
                  <a:pt x="25159" y="27818"/>
                </a:lnTo>
                <a:lnTo>
                  <a:pt x="25057" y="27920"/>
                </a:lnTo>
                <a:lnTo>
                  <a:pt x="25159" y="28023"/>
                </a:lnTo>
                <a:lnTo>
                  <a:pt x="24852" y="28125"/>
                </a:lnTo>
                <a:lnTo>
                  <a:pt x="25364" y="28125"/>
                </a:lnTo>
                <a:lnTo>
                  <a:pt x="24852" y="28227"/>
                </a:lnTo>
                <a:lnTo>
                  <a:pt x="25977" y="28227"/>
                </a:lnTo>
                <a:lnTo>
                  <a:pt x="26284" y="27920"/>
                </a:lnTo>
                <a:lnTo>
                  <a:pt x="25773" y="28841"/>
                </a:lnTo>
                <a:lnTo>
                  <a:pt x="26591" y="28636"/>
                </a:lnTo>
                <a:lnTo>
                  <a:pt x="26489" y="29148"/>
                </a:lnTo>
                <a:lnTo>
                  <a:pt x="26182" y="29352"/>
                </a:lnTo>
                <a:lnTo>
                  <a:pt x="26182" y="29352"/>
                </a:lnTo>
                <a:lnTo>
                  <a:pt x="26795" y="29148"/>
                </a:lnTo>
                <a:lnTo>
                  <a:pt x="26489" y="29455"/>
                </a:lnTo>
                <a:lnTo>
                  <a:pt x="26898" y="29455"/>
                </a:lnTo>
                <a:lnTo>
                  <a:pt x="26489" y="29659"/>
                </a:lnTo>
                <a:lnTo>
                  <a:pt x="26489" y="29864"/>
                </a:lnTo>
                <a:lnTo>
                  <a:pt x="26591" y="30068"/>
                </a:lnTo>
                <a:lnTo>
                  <a:pt x="26693" y="30068"/>
                </a:lnTo>
                <a:lnTo>
                  <a:pt x="26386" y="30375"/>
                </a:lnTo>
                <a:lnTo>
                  <a:pt x="26386" y="30682"/>
                </a:lnTo>
                <a:lnTo>
                  <a:pt x="26489" y="30682"/>
                </a:lnTo>
                <a:lnTo>
                  <a:pt x="26386" y="30784"/>
                </a:lnTo>
                <a:lnTo>
                  <a:pt x="26386" y="30682"/>
                </a:lnTo>
                <a:lnTo>
                  <a:pt x="26080" y="31295"/>
                </a:lnTo>
                <a:lnTo>
                  <a:pt x="25670" y="31500"/>
                </a:lnTo>
                <a:lnTo>
                  <a:pt x="25568" y="31602"/>
                </a:lnTo>
                <a:lnTo>
                  <a:pt x="25568" y="31500"/>
                </a:lnTo>
                <a:lnTo>
                  <a:pt x="25670" y="31500"/>
                </a:lnTo>
                <a:lnTo>
                  <a:pt x="26182" y="30886"/>
                </a:lnTo>
                <a:lnTo>
                  <a:pt x="26182" y="30886"/>
                </a:lnTo>
                <a:lnTo>
                  <a:pt x="25466" y="31398"/>
                </a:lnTo>
                <a:lnTo>
                  <a:pt x="25875" y="30989"/>
                </a:lnTo>
                <a:lnTo>
                  <a:pt x="25875" y="31091"/>
                </a:lnTo>
                <a:lnTo>
                  <a:pt x="26182" y="30682"/>
                </a:lnTo>
                <a:lnTo>
                  <a:pt x="24852" y="30477"/>
                </a:lnTo>
                <a:lnTo>
                  <a:pt x="24341" y="31909"/>
                </a:lnTo>
                <a:lnTo>
                  <a:pt x="24545" y="31909"/>
                </a:lnTo>
                <a:lnTo>
                  <a:pt x="24136" y="32420"/>
                </a:lnTo>
                <a:lnTo>
                  <a:pt x="24136" y="32216"/>
                </a:lnTo>
                <a:lnTo>
                  <a:pt x="23932" y="32523"/>
                </a:lnTo>
                <a:lnTo>
                  <a:pt x="24545" y="32727"/>
                </a:lnTo>
                <a:lnTo>
                  <a:pt x="24034" y="32625"/>
                </a:lnTo>
                <a:lnTo>
                  <a:pt x="21989" y="35489"/>
                </a:lnTo>
                <a:lnTo>
                  <a:pt x="22091" y="35489"/>
                </a:lnTo>
                <a:lnTo>
                  <a:pt x="20557" y="38250"/>
                </a:lnTo>
                <a:lnTo>
                  <a:pt x="20557" y="38148"/>
                </a:lnTo>
                <a:lnTo>
                  <a:pt x="20250" y="38659"/>
                </a:lnTo>
                <a:lnTo>
                  <a:pt x="20348" y="40709"/>
                </a:lnTo>
                <a:lnTo>
                  <a:pt x="20348" y="40709"/>
                </a:lnTo>
                <a:lnTo>
                  <a:pt x="20148" y="40909"/>
                </a:lnTo>
                <a:lnTo>
                  <a:pt x="20455" y="41011"/>
                </a:lnTo>
                <a:lnTo>
                  <a:pt x="20761" y="40807"/>
                </a:lnTo>
                <a:lnTo>
                  <a:pt x="21477" y="40807"/>
                </a:lnTo>
                <a:lnTo>
                  <a:pt x="20761" y="40909"/>
                </a:lnTo>
                <a:lnTo>
                  <a:pt x="20761" y="41420"/>
                </a:lnTo>
                <a:lnTo>
                  <a:pt x="20557" y="41114"/>
                </a:lnTo>
                <a:lnTo>
                  <a:pt x="20352" y="41727"/>
                </a:lnTo>
                <a:lnTo>
                  <a:pt x="20557" y="42341"/>
                </a:lnTo>
                <a:lnTo>
                  <a:pt x="20352" y="42648"/>
                </a:lnTo>
                <a:lnTo>
                  <a:pt x="20864" y="43875"/>
                </a:lnTo>
                <a:lnTo>
                  <a:pt x="20761" y="44284"/>
                </a:lnTo>
                <a:lnTo>
                  <a:pt x="21068" y="44591"/>
                </a:lnTo>
                <a:lnTo>
                  <a:pt x="21477" y="44693"/>
                </a:lnTo>
                <a:lnTo>
                  <a:pt x="23011" y="47250"/>
                </a:lnTo>
                <a:lnTo>
                  <a:pt x="22909" y="47455"/>
                </a:lnTo>
                <a:lnTo>
                  <a:pt x="23216" y="49295"/>
                </a:lnTo>
                <a:lnTo>
                  <a:pt x="23932" y="50114"/>
                </a:lnTo>
                <a:lnTo>
                  <a:pt x="23932" y="51341"/>
                </a:lnTo>
                <a:lnTo>
                  <a:pt x="24034" y="51341"/>
                </a:lnTo>
                <a:lnTo>
                  <a:pt x="24034" y="51545"/>
                </a:lnTo>
                <a:lnTo>
                  <a:pt x="23830" y="51341"/>
                </a:lnTo>
                <a:lnTo>
                  <a:pt x="23216" y="51443"/>
                </a:lnTo>
                <a:lnTo>
                  <a:pt x="23830" y="52159"/>
                </a:lnTo>
                <a:lnTo>
                  <a:pt x="24648" y="52364"/>
                </a:lnTo>
                <a:lnTo>
                  <a:pt x="25261" y="54818"/>
                </a:lnTo>
                <a:lnTo>
                  <a:pt x="26795" y="56455"/>
                </a:lnTo>
                <a:lnTo>
                  <a:pt x="26898" y="55432"/>
                </a:lnTo>
                <a:lnTo>
                  <a:pt x="26386" y="55227"/>
                </a:lnTo>
                <a:lnTo>
                  <a:pt x="25773" y="52364"/>
                </a:lnTo>
                <a:lnTo>
                  <a:pt x="25773" y="52670"/>
                </a:lnTo>
                <a:lnTo>
                  <a:pt x="25261" y="50830"/>
                </a:lnTo>
                <a:lnTo>
                  <a:pt x="25057" y="50727"/>
                </a:lnTo>
                <a:lnTo>
                  <a:pt x="24341" y="48068"/>
                </a:lnTo>
                <a:lnTo>
                  <a:pt x="24545" y="47250"/>
                </a:lnTo>
                <a:lnTo>
                  <a:pt x="25159" y="47659"/>
                </a:lnTo>
                <a:lnTo>
                  <a:pt x="25364" y="47557"/>
                </a:lnTo>
                <a:lnTo>
                  <a:pt x="25466" y="47761"/>
                </a:lnTo>
                <a:lnTo>
                  <a:pt x="25875" y="47966"/>
                </a:lnTo>
                <a:lnTo>
                  <a:pt x="26591" y="51034"/>
                </a:lnTo>
                <a:lnTo>
                  <a:pt x="27205" y="51341"/>
                </a:lnTo>
                <a:lnTo>
                  <a:pt x="27000" y="51852"/>
                </a:lnTo>
                <a:lnTo>
                  <a:pt x="28023" y="53080"/>
                </a:lnTo>
                <a:lnTo>
                  <a:pt x="27920" y="52977"/>
                </a:lnTo>
                <a:lnTo>
                  <a:pt x="28125" y="53591"/>
                </a:lnTo>
                <a:lnTo>
                  <a:pt x="27920" y="53795"/>
                </a:lnTo>
                <a:lnTo>
                  <a:pt x="28636" y="54307"/>
                </a:lnTo>
                <a:lnTo>
                  <a:pt x="28432" y="54205"/>
                </a:lnTo>
                <a:lnTo>
                  <a:pt x="29045" y="54920"/>
                </a:lnTo>
                <a:lnTo>
                  <a:pt x="28841" y="54920"/>
                </a:lnTo>
                <a:lnTo>
                  <a:pt x="29761" y="56148"/>
                </a:lnTo>
                <a:lnTo>
                  <a:pt x="30477" y="58091"/>
                </a:lnTo>
                <a:lnTo>
                  <a:pt x="29966" y="59216"/>
                </a:lnTo>
                <a:lnTo>
                  <a:pt x="37534" y="63920"/>
                </a:lnTo>
                <a:lnTo>
                  <a:pt x="39068" y="63307"/>
                </a:lnTo>
                <a:lnTo>
                  <a:pt x="39170" y="63307"/>
                </a:lnTo>
                <a:lnTo>
                  <a:pt x="39784" y="63614"/>
                </a:lnTo>
                <a:lnTo>
                  <a:pt x="39784" y="63614"/>
                </a:lnTo>
                <a:lnTo>
                  <a:pt x="39375" y="63307"/>
                </a:lnTo>
                <a:lnTo>
                  <a:pt x="39375" y="63307"/>
                </a:lnTo>
                <a:lnTo>
                  <a:pt x="44284" y="66375"/>
                </a:lnTo>
                <a:lnTo>
                  <a:pt x="45000" y="66273"/>
                </a:lnTo>
                <a:lnTo>
                  <a:pt x="45409" y="66682"/>
                </a:lnTo>
                <a:lnTo>
                  <a:pt x="45307" y="66989"/>
                </a:lnTo>
                <a:lnTo>
                  <a:pt x="46534" y="68830"/>
                </a:lnTo>
                <a:lnTo>
                  <a:pt x="46534" y="69443"/>
                </a:lnTo>
                <a:lnTo>
                  <a:pt x="47148" y="70159"/>
                </a:lnTo>
                <a:lnTo>
                  <a:pt x="47352" y="69852"/>
                </a:lnTo>
                <a:lnTo>
                  <a:pt x="47045" y="69443"/>
                </a:lnTo>
                <a:lnTo>
                  <a:pt x="47045" y="69443"/>
                </a:lnTo>
                <a:lnTo>
                  <a:pt x="48784" y="71386"/>
                </a:lnTo>
                <a:lnTo>
                  <a:pt x="48784" y="71386"/>
                </a:lnTo>
                <a:lnTo>
                  <a:pt x="48580" y="71080"/>
                </a:lnTo>
                <a:lnTo>
                  <a:pt x="49091" y="71693"/>
                </a:lnTo>
                <a:lnTo>
                  <a:pt x="49705" y="71489"/>
                </a:lnTo>
                <a:lnTo>
                  <a:pt x="50625" y="72205"/>
                </a:lnTo>
                <a:lnTo>
                  <a:pt x="50727" y="71898"/>
                </a:lnTo>
                <a:lnTo>
                  <a:pt x="51136" y="72614"/>
                </a:lnTo>
                <a:lnTo>
                  <a:pt x="51648" y="72307"/>
                </a:lnTo>
                <a:lnTo>
                  <a:pt x="51341" y="71693"/>
                </a:lnTo>
                <a:lnTo>
                  <a:pt x="52670" y="70773"/>
                </a:lnTo>
                <a:lnTo>
                  <a:pt x="53182" y="71489"/>
                </a:lnTo>
                <a:lnTo>
                  <a:pt x="53182" y="71284"/>
                </a:lnTo>
                <a:lnTo>
                  <a:pt x="53386" y="71386"/>
                </a:lnTo>
                <a:lnTo>
                  <a:pt x="53489" y="71284"/>
                </a:lnTo>
                <a:lnTo>
                  <a:pt x="53693" y="71693"/>
                </a:lnTo>
                <a:lnTo>
                  <a:pt x="53386" y="71386"/>
                </a:lnTo>
                <a:lnTo>
                  <a:pt x="53182" y="71795"/>
                </a:lnTo>
                <a:lnTo>
                  <a:pt x="53795" y="75682"/>
                </a:lnTo>
                <a:lnTo>
                  <a:pt x="53898" y="75682"/>
                </a:lnTo>
                <a:lnTo>
                  <a:pt x="53898" y="75989"/>
                </a:lnTo>
                <a:lnTo>
                  <a:pt x="54000" y="75886"/>
                </a:lnTo>
                <a:lnTo>
                  <a:pt x="54205" y="75989"/>
                </a:lnTo>
                <a:lnTo>
                  <a:pt x="53489" y="77216"/>
                </a:lnTo>
                <a:lnTo>
                  <a:pt x="52977" y="77523"/>
                </a:lnTo>
                <a:lnTo>
                  <a:pt x="52773" y="78239"/>
                </a:lnTo>
                <a:lnTo>
                  <a:pt x="52364" y="78341"/>
                </a:lnTo>
                <a:lnTo>
                  <a:pt x="52568" y="78750"/>
                </a:lnTo>
                <a:lnTo>
                  <a:pt x="51648" y="79159"/>
                </a:lnTo>
                <a:lnTo>
                  <a:pt x="51239" y="80693"/>
                </a:lnTo>
                <a:lnTo>
                  <a:pt x="51034" y="80591"/>
                </a:lnTo>
                <a:lnTo>
                  <a:pt x="50727" y="81307"/>
                </a:lnTo>
                <a:lnTo>
                  <a:pt x="50727" y="82227"/>
                </a:lnTo>
                <a:lnTo>
                  <a:pt x="51034" y="82739"/>
                </a:lnTo>
                <a:lnTo>
                  <a:pt x="51545" y="82432"/>
                </a:lnTo>
                <a:lnTo>
                  <a:pt x="51648" y="82125"/>
                </a:lnTo>
                <a:lnTo>
                  <a:pt x="51750" y="82841"/>
                </a:lnTo>
                <a:lnTo>
                  <a:pt x="50318" y="84886"/>
                </a:lnTo>
                <a:lnTo>
                  <a:pt x="50830" y="85909"/>
                </a:lnTo>
                <a:lnTo>
                  <a:pt x="50625" y="86011"/>
                </a:lnTo>
                <a:lnTo>
                  <a:pt x="60852" y="98693"/>
                </a:lnTo>
                <a:lnTo>
                  <a:pt x="61977" y="118125"/>
                </a:lnTo>
                <a:lnTo>
                  <a:pt x="61670" y="118330"/>
                </a:lnTo>
                <a:lnTo>
                  <a:pt x="63102" y="122932"/>
                </a:lnTo>
                <a:lnTo>
                  <a:pt x="64125" y="122625"/>
                </a:lnTo>
                <a:lnTo>
                  <a:pt x="63818" y="123136"/>
                </a:lnTo>
                <a:lnTo>
                  <a:pt x="64125" y="123136"/>
                </a:lnTo>
                <a:lnTo>
                  <a:pt x="64330" y="123648"/>
                </a:lnTo>
                <a:lnTo>
                  <a:pt x="64023" y="123648"/>
                </a:lnTo>
                <a:lnTo>
                  <a:pt x="64227" y="125284"/>
                </a:lnTo>
                <a:lnTo>
                  <a:pt x="64636" y="125489"/>
                </a:lnTo>
                <a:lnTo>
                  <a:pt x="64534" y="126511"/>
                </a:lnTo>
                <a:lnTo>
                  <a:pt x="64943" y="126716"/>
                </a:lnTo>
                <a:lnTo>
                  <a:pt x="64330" y="126716"/>
                </a:lnTo>
                <a:lnTo>
                  <a:pt x="64636" y="127432"/>
                </a:lnTo>
                <a:lnTo>
                  <a:pt x="64534" y="127739"/>
                </a:lnTo>
                <a:lnTo>
                  <a:pt x="64330" y="127023"/>
                </a:lnTo>
                <a:lnTo>
                  <a:pt x="64023" y="127432"/>
                </a:lnTo>
                <a:lnTo>
                  <a:pt x="64023" y="127432"/>
                </a:lnTo>
                <a:lnTo>
                  <a:pt x="64227" y="127023"/>
                </a:lnTo>
                <a:lnTo>
                  <a:pt x="64023" y="126614"/>
                </a:lnTo>
                <a:lnTo>
                  <a:pt x="64023" y="127023"/>
                </a:lnTo>
                <a:lnTo>
                  <a:pt x="63409" y="127125"/>
                </a:lnTo>
                <a:lnTo>
                  <a:pt x="63614" y="127432"/>
                </a:lnTo>
                <a:lnTo>
                  <a:pt x="63205" y="127943"/>
                </a:lnTo>
                <a:lnTo>
                  <a:pt x="63205" y="127943"/>
                </a:lnTo>
                <a:lnTo>
                  <a:pt x="63716" y="127739"/>
                </a:lnTo>
                <a:lnTo>
                  <a:pt x="64227" y="128148"/>
                </a:lnTo>
                <a:lnTo>
                  <a:pt x="64227" y="128045"/>
                </a:lnTo>
                <a:lnTo>
                  <a:pt x="64534" y="128250"/>
                </a:lnTo>
                <a:lnTo>
                  <a:pt x="64534" y="128455"/>
                </a:lnTo>
                <a:lnTo>
                  <a:pt x="64432" y="128659"/>
                </a:lnTo>
                <a:lnTo>
                  <a:pt x="64636" y="129068"/>
                </a:lnTo>
                <a:lnTo>
                  <a:pt x="65148" y="128864"/>
                </a:lnTo>
                <a:lnTo>
                  <a:pt x="65557" y="129477"/>
                </a:lnTo>
                <a:lnTo>
                  <a:pt x="64534" y="129273"/>
                </a:lnTo>
                <a:lnTo>
                  <a:pt x="65148" y="129682"/>
                </a:lnTo>
                <a:lnTo>
                  <a:pt x="65455" y="130705"/>
                </a:lnTo>
                <a:lnTo>
                  <a:pt x="65352" y="130295"/>
                </a:lnTo>
                <a:lnTo>
                  <a:pt x="65455" y="130295"/>
                </a:lnTo>
                <a:lnTo>
                  <a:pt x="65864" y="131216"/>
                </a:lnTo>
                <a:lnTo>
                  <a:pt x="65352" y="131420"/>
                </a:lnTo>
                <a:lnTo>
                  <a:pt x="66068" y="131727"/>
                </a:lnTo>
                <a:lnTo>
                  <a:pt x="65864" y="131727"/>
                </a:lnTo>
                <a:lnTo>
                  <a:pt x="66170" y="132034"/>
                </a:lnTo>
                <a:lnTo>
                  <a:pt x="66273" y="131727"/>
                </a:lnTo>
                <a:lnTo>
                  <a:pt x="66375" y="131932"/>
                </a:lnTo>
                <a:lnTo>
                  <a:pt x="66375" y="132239"/>
                </a:lnTo>
                <a:lnTo>
                  <a:pt x="66170" y="132034"/>
                </a:lnTo>
                <a:lnTo>
                  <a:pt x="65557" y="131625"/>
                </a:lnTo>
                <a:lnTo>
                  <a:pt x="65250" y="131932"/>
                </a:lnTo>
                <a:lnTo>
                  <a:pt x="67193" y="133261"/>
                </a:lnTo>
                <a:lnTo>
                  <a:pt x="67398" y="133159"/>
                </a:lnTo>
                <a:lnTo>
                  <a:pt x="67091" y="132750"/>
                </a:lnTo>
                <a:lnTo>
                  <a:pt x="67705" y="133057"/>
                </a:lnTo>
                <a:lnTo>
                  <a:pt x="67398" y="133159"/>
                </a:lnTo>
                <a:lnTo>
                  <a:pt x="67500" y="133261"/>
                </a:lnTo>
                <a:lnTo>
                  <a:pt x="67602" y="133159"/>
                </a:lnTo>
                <a:lnTo>
                  <a:pt x="67807" y="133568"/>
                </a:lnTo>
                <a:lnTo>
                  <a:pt x="67807" y="133568"/>
                </a:lnTo>
                <a:lnTo>
                  <a:pt x="67500" y="133261"/>
                </a:lnTo>
                <a:lnTo>
                  <a:pt x="67295" y="133364"/>
                </a:lnTo>
                <a:lnTo>
                  <a:pt x="66477" y="133364"/>
                </a:lnTo>
                <a:lnTo>
                  <a:pt x="66886" y="133773"/>
                </a:lnTo>
                <a:lnTo>
                  <a:pt x="67500" y="133670"/>
                </a:lnTo>
                <a:lnTo>
                  <a:pt x="67295" y="134080"/>
                </a:lnTo>
                <a:lnTo>
                  <a:pt x="67705" y="134284"/>
                </a:lnTo>
                <a:lnTo>
                  <a:pt x="67807" y="134080"/>
                </a:lnTo>
                <a:lnTo>
                  <a:pt x="67926" y="134000"/>
                </a:lnTo>
                <a:lnTo>
                  <a:pt x="67926" y="134000"/>
                </a:lnTo>
                <a:lnTo>
                  <a:pt x="68420" y="134693"/>
                </a:lnTo>
                <a:lnTo>
                  <a:pt x="69136" y="133977"/>
                </a:lnTo>
                <a:lnTo>
                  <a:pt x="69136" y="134284"/>
                </a:lnTo>
                <a:lnTo>
                  <a:pt x="68932" y="134489"/>
                </a:lnTo>
                <a:lnTo>
                  <a:pt x="68932" y="134693"/>
                </a:lnTo>
                <a:lnTo>
                  <a:pt x="68727" y="134795"/>
                </a:lnTo>
                <a:lnTo>
                  <a:pt x="69750" y="134795"/>
                </a:lnTo>
                <a:lnTo>
                  <a:pt x="69545" y="134182"/>
                </a:lnTo>
                <a:lnTo>
                  <a:pt x="69767" y="133988"/>
                </a:lnTo>
                <a:lnTo>
                  <a:pt x="69767" y="133988"/>
                </a:lnTo>
                <a:lnTo>
                  <a:pt x="70057" y="134182"/>
                </a:lnTo>
                <a:lnTo>
                  <a:pt x="69852" y="134284"/>
                </a:lnTo>
                <a:lnTo>
                  <a:pt x="70568" y="134591"/>
                </a:lnTo>
                <a:lnTo>
                  <a:pt x="70364" y="135000"/>
                </a:lnTo>
                <a:lnTo>
                  <a:pt x="71489" y="135614"/>
                </a:lnTo>
                <a:lnTo>
                  <a:pt x="71386" y="135716"/>
                </a:lnTo>
                <a:lnTo>
                  <a:pt x="70159" y="135205"/>
                </a:lnTo>
                <a:lnTo>
                  <a:pt x="70364" y="135205"/>
                </a:lnTo>
                <a:lnTo>
                  <a:pt x="70057" y="135000"/>
                </a:lnTo>
                <a:lnTo>
                  <a:pt x="69955" y="135102"/>
                </a:lnTo>
                <a:lnTo>
                  <a:pt x="70568" y="135716"/>
                </a:lnTo>
                <a:lnTo>
                  <a:pt x="70057" y="135511"/>
                </a:lnTo>
                <a:lnTo>
                  <a:pt x="69443" y="135716"/>
                </a:lnTo>
                <a:lnTo>
                  <a:pt x="69545" y="135818"/>
                </a:lnTo>
                <a:lnTo>
                  <a:pt x="73943" y="136125"/>
                </a:lnTo>
                <a:lnTo>
                  <a:pt x="74557" y="135818"/>
                </a:lnTo>
                <a:lnTo>
                  <a:pt x="71489" y="134489"/>
                </a:lnTo>
                <a:lnTo>
                  <a:pt x="71591" y="134284"/>
                </a:lnTo>
                <a:lnTo>
                  <a:pt x="71080" y="133875"/>
                </a:lnTo>
                <a:lnTo>
                  <a:pt x="69782" y="133975"/>
                </a:lnTo>
                <a:lnTo>
                  <a:pt x="69782" y="133975"/>
                </a:lnTo>
                <a:lnTo>
                  <a:pt x="70364" y="133466"/>
                </a:lnTo>
                <a:lnTo>
                  <a:pt x="71080" y="133568"/>
                </a:lnTo>
                <a:lnTo>
                  <a:pt x="71080" y="133568"/>
                </a:lnTo>
                <a:lnTo>
                  <a:pt x="70057" y="132852"/>
                </a:lnTo>
                <a:lnTo>
                  <a:pt x="70364" y="132750"/>
                </a:lnTo>
                <a:lnTo>
                  <a:pt x="69852" y="132341"/>
                </a:lnTo>
                <a:lnTo>
                  <a:pt x="70159" y="131318"/>
                </a:lnTo>
                <a:lnTo>
                  <a:pt x="69750" y="131216"/>
                </a:lnTo>
                <a:lnTo>
                  <a:pt x="69955" y="131216"/>
                </a:lnTo>
                <a:lnTo>
                  <a:pt x="69955" y="131011"/>
                </a:lnTo>
                <a:lnTo>
                  <a:pt x="70670" y="131216"/>
                </a:lnTo>
                <a:lnTo>
                  <a:pt x="70670" y="131216"/>
                </a:lnTo>
                <a:lnTo>
                  <a:pt x="70466" y="130500"/>
                </a:lnTo>
                <a:lnTo>
                  <a:pt x="71591" y="129170"/>
                </a:lnTo>
                <a:lnTo>
                  <a:pt x="71182" y="129068"/>
                </a:lnTo>
                <a:lnTo>
                  <a:pt x="71284" y="128455"/>
                </a:lnTo>
                <a:lnTo>
                  <a:pt x="69443" y="127330"/>
                </a:lnTo>
                <a:lnTo>
                  <a:pt x="69852" y="126409"/>
                </a:lnTo>
                <a:lnTo>
                  <a:pt x="70159" y="126205"/>
                </a:lnTo>
                <a:lnTo>
                  <a:pt x="70670" y="126205"/>
                </a:lnTo>
                <a:lnTo>
                  <a:pt x="70568" y="124670"/>
                </a:lnTo>
                <a:lnTo>
                  <a:pt x="71182" y="124159"/>
                </a:lnTo>
                <a:lnTo>
                  <a:pt x="70568" y="123852"/>
                </a:lnTo>
                <a:lnTo>
                  <a:pt x="70977" y="123750"/>
                </a:lnTo>
                <a:lnTo>
                  <a:pt x="71284" y="124057"/>
                </a:lnTo>
                <a:lnTo>
                  <a:pt x="71284" y="124057"/>
                </a:lnTo>
                <a:lnTo>
                  <a:pt x="70977" y="123443"/>
                </a:lnTo>
                <a:lnTo>
                  <a:pt x="70773" y="123545"/>
                </a:lnTo>
                <a:lnTo>
                  <a:pt x="70364" y="123239"/>
                </a:lnTo>
                <a:lnTo>
                  <a:pt x="69955" y="122318"/>
                </a:lnTo>
                <a:lnTo>
                  <a:pt x="70057" y="122011"/>
                </a:lnTo>
                <a:lnTo>
                  <a:pt x="71182" y="122318"/>
                </a:lnTo>
                <a:lnTo>
                  <a:pt x="72205" y="122011"/>
                </a:lnTo>
                <a:lnTo>
                  <a:pt x="72000" y="121193"/>
                </a:lnTo>
                <a:lnTo>
                  <a:pt x="72102" y="120886"/>
                </a:lnTo>
                <a:lnTo>
                  <a:pt x="71898" y="120580"/>
                </a:lnTo>
                <a:lnTo>
                  <a:pt x="72000" y="120580"/>
                </a:lnTo>
                <a:lnTo>
                  <a:pt x="71693" y="120170"/>
                </a:lnTo>
                <a:lnTo>
                  <a:pt x="75477" y="119250"/>
                </a:lnTo>
                <a:lnTo>
                  <a:pt x="75886" y="117716"/>
                </a:lnTo>
                <a:lnTo>
                  <a:pt x="73739" y="114545"/>
                </a:lnTo>
                <a:lnTo>
                  <a:pt x="73739" y="114034"/>
                </a:lnTo>
                <a:lnTo>
                  <a:pt x="73943" y="114034"/>
                </a:lnTo>
                <a:lnTo>
                  <a:pt x="73841" y="113420"/>
                </a:lnTo>
                <a:lnTo>
                  <a:pt x="74045" y="113932"/>
                </a:lnTo>
                <a:lnTo>
                  <a:pt x="73841" y="114341"/>
                </a:lnTo>
                <a:lnTo>
                  <a:pt x="74557" y="115466"/>
                </a:lnTo>
                <a:lnTo>
                  <a:pt x="77216" y="115875"/>
                </a:lnTo>
                <a:lnTo>
                  <a:pt x="79466" y="111580"/>
                </a:lnTo>
                <a:lnTo>
                  <a:pt x="79568" y="111682"/>
                </a:lnTo>
                <a:lnTo>
                  <a:pt x="79568" y="111273"/>
                </a:lnTo>
                <a:lnTo>
                  <a:pt x="79466" y="110966"/>
                </a:lnTo>
                <a:lnTo>
                  <a:pt x="79773" y="111273"/>
                </a:lnTo>
                <a:lnTo>
                  <a:pt x="79875" y="111273"/>
                </a:lnTo>
                <a:lnTo>
                  <a:pt x="79364" y="112500"/>
                </a:lnTo>
                <a:lnTo>
                  <a:pt x="79773" y="112193"/>
                </a:lnTo>
                <a:lnTo>
                  <a:pt x="80080" y="111170"/>
                </a:lnTo>
                <a:lnTo>
                  <a:pt x="79875" y="111273"/>
                </a:lnTo>
                <a:lnTo>
                  <a:pt x="79875" y="111273"/>
                </a:lnTo>
                <a:lnTo>
                  <a:pt x="81409" y="107898"/>
                </a:lnTo>
                <a:lnTo>
                  <a:pt x="81102" y="106159"/>
                </a:lnTo>
                <a:lnTo>
                  <a:pt x="81614" y="106057"/>
                </a:lnTo>
                <a:lnTo>
                  <a:pt x="81511" y="106159"/>
                </a:lnTo>
                <a:lnTo>
                  <a:pt x="85398" y="103705"/>
                </a:lnTo>
                <a:lnTo>
                  <a:pt x="85807" y="103602"/>
                </a:lnTo>
                <a:lnTo>
                  <a:pt x="85909" y="103398"/>
                </a:lnTo>
                <a:lnTo>
                  <a:pt x="86114" y="103705"/>
                </a:lnTo>
                <a:lnTo>
                  <a:pt x="86830" y="103602"/>
                </a:lnTo>
                <a:lnTo>
                  <a:pt x="86932" y="103091"/>
                </a:lnTo>
                <a:lnTo>
                  <a:pt x="87750" y="102580"/>
                </a:lnTo>
                <a:lnTo>
                  <a:pt x="89080" y="94398"/>
                </a:lnTo>
                <a:lnTo>
                  <a:pt x="89080" y="93170"/>
                </a:lnTo>
                <a:lnTo>
                  <a:pt x="89284" y="93068"/>
                </a:lnTo>
                <a:lnTo>
                  <a:pt x="89489" y="93375"/>
                </a:lnTo>
                <a:lnTo>
                  <a:pt x="90409" y="91534"/>
                </a:lnTo>
                <a:lnTo>
                  <a:pt x="90409" y="91739"/>
                </a:lnTo>
                <a:lnTo>
                  <a:pt x="92557" y="87136"/>
                </a:lnTo>
                <a:lnTo>
                  <a:pt x="91943" y="85398"/>
                </a:lnTo>
                <a:lnTo>
                  <a:pt x="84273" y="82739"/>
                </a:lnTo>
                <a:lnTo>
                  <a:pt x="84068" y="82943"/>
                </a:lnTo>
                <a:lnTo>
                  <a:pt x="83966" y="82534"/>
                </a:lnTo>
                <a:lnTo>
                  <a:pt x="83557" y="83352"/>
                </a:lnTo>
                <a:lnTo>
                  <a:pt x="83557" y="83352"/>
                </a:lnTo>
                <a:lnTo>
                  <a:pt x="83659" y="82636"/>
                </a:lnTo>
                <a:lnTo>
                  <a:pt x="83557" y="82330"/>
                </a:lnTo>
                <a:lnTo>
                  <a:pt x="83557" y="81818"/>
                </a:lnTo>
                <a:lnTo>
                  <a:pt x="80591" y="80795"/>
                </a:lnTo>
                <a:lnTo>
                  <a:pt x="79057" y="82739"/>
                </a:lnTo>
                <a:lnTo>
                  <a:pt x="79364" y="81818"/>
                </a:lnTo>
                <a:lnTo>
                  <a:pt x="78341" y="82125"/>
                </a:lnTo>
                <a:lnTo>
                  <a:pt x="77932" y="81307"/>
                </a:lnTo>
                <a:lnTo>
                  <a:pt x="77625" y="81205"/>
                </a:lnTo>
                <a:lnTo>
                  <a:pt x="77011" y="81614"/>
                </a:lnTo>
                <a:lnTo>
                  <a:pt x="76295" y="81614"/>
                </a:lnTo>
                <a:lnTo>
                  <a:pt x="78852" y="78750"/>
                </a:lnTo>
                <a:lnTo>
                  <a:pt x="77216" y="75375"/>
                </a:lnTo>
                <a:lnTo>
                  <a:pt x="77011" y="75580"/>
                </a:lnTo>
                <a:lnTo>
                  <a:pt x="76807" y="75068"/>
                </a:lnTo>
                <a:lnTo>
                  <a:pt x="76705" y="75170"/>
                </a:lnTo>
                <a:lnTo>
                  <a:pt x="75273" y="74148"/>
                </a:lnTo>
                <a:lnTo>
                  <a:pt x="75068" y="74557"/>
                </a:lnTo>
                <a:lnTo>
                  <a:pt x="74455" y="73841"/>
                </a:lnTo>
                <a:lnTo>
                  <a:pt x="73432" y="74148"/>
                </a:lnTo>
                <a:lnTo>
                  <a:pt x="72614" y="73943"/>
                </a:lnTo>
                <a:lnTo>
                  <a:pt x="72307" y="74352"/>
                </a:lnTo>
                <a:lnTo>
                  <a:pt x="72307" y="73739"/>
                </a:lnTo>
                <a:lnTo>
                  <a:pt x="71284" y="72920"/>
                </a:lnTo>
                <a:lnTo>
                  <a:pt x="70977" y="73432"/>
                </a:lnTo>
                <a:lnTo>
                  <a:pt x="70977" y="73432"/>
                </a:lnTo>
                <a:lnTo>
                  <a:pt x="71080" y="72307"/>
                </a:lnTo>
                <a:lnTo>
                  <a:pt x="69852" y="71284"/>
                </a:lnTo>
                <a:lnTo>
                  <a:pt x="68420" y="71182"/>
                </a:lnTo>
                <a:lnTo>
                  <a:pt x="68830" y="70875"/>
                </a:lnTo>
                <a:lnTo>
                  <a:pt x="69034" y="70568"/>
                </a:lnTo>
                <a:lnTo>
                  <a:pt x="68932" y="70159"/>
                </a:lnTo>
                <a:lnTo>
                  <a:pt x="68420" y="69852"/>
                </a:lnTo>
                <a:lnTo>
                  <a:pt x="68318" y="69955"/>
                </a:lnTo>
                <a:lnTo>
                  <a:pt x="68318" y="70159"/>
                </a:lnTo>
                <a:lnTo>
                  <a:pt x="67909" y="69852"/>
                </a:lnTo>
                <a:lnTo>
                  <a:pt x="67807" y="69955"/>
                </a:lnTo>
                <a:lnTo>
                  <a:pt x="67602" y="69545"/>
                </a:lnTo>
                <a:lnTo>
                  <a:pt x="67398" y="69648"/>
                </a:lnTo>
                <a:lnTo>
                  <a:pt x="67295" y="69239"/>
                </a:lnTo>
                <a:lnTo>
                  <a:pt x="68216" y="69034"/>
                </a:lnTo>
                <a:lnTo>
                  <a:pt x="66068" y="69136"/>
                </a:lnTo>
                <a:lnTo>
                  <a:pt x="66068" y="69239"/>
                </a:lnTo>
                <a:lnTo>
                  <a:pt x="66580" y="69239"/>
                </a:lnTo>
                <a:lnTo>
                  <a:pt x="65045" y="69648"/>
                </a:lnTo>
                <a:lnTo>
                  <a:pt x="64636" y="69443"/>
                </a:lnTo>
                <a:lnTo>
                  <a:pt x="64432" y="69136"/>
                </a:lnTo>
                <a:lnTo>
                  <a:pt x="62489" y="69136"/>
                </a:lnTo>
                <a:lnTo>
                  <a:pt x="62284" y="68523"/>
                </a:lnTo>
                <a:lnTo>
                  <a:pt x="61466" y="68216"/>
                </a:lnTo>
                <a:lnTo>
                  <a:pt x="61159" y="67705"/>
                </a:lnTo>
                <a:lnTo>
                  <a:pt x="60750" y="67705"/>
                </a:lnTo>
                <a:lnTo>
                  <a:pt x="61159" y="68114"/>
                </a:lnTo>
                <a:lnTo>
                  <a:pt x="59727" y="68727"/>
                </a:lnTo>
                <a:lnTo>
                  <a:pt x="59523" y="69239"/>
                </a:lnTo>
                <a:lnTo>
                  <a:pt x="59932" y="70057"/>
                </a:lnTo>
                <a:lnTo>
                  <a:pt x="59625" y="70670"/>
                </a:lnTo>
                <a:lnTo>
                  <a:pt x="59216" y="70364"/>
                </a:lnTo>
                <a:lnTo>
                  <a:pt x="59114" y="69648"/>
                </a:lnTo>
                <a:lnTo>
                  <a:pt x="59420" y="69239"/>
                </a:lnTo>
                <a:lnTo>
                  <a:pt x="59318" y="68727"/>
                </a:lnTo>
                <a:lnTo>
                  <a:pt x="59420" y="68727"/>
                </a:lnTo>
                <a:lnTo>
                  <a:pt x="59216" y="68114"/>
                </a:lnTo>
                <a:lnTo>
                  <a:pt x="59830" y="67807"/>
                </a:lnTo>
                <a:lnTo>
                  <a:pt x="59625" y="67295"/>
                </a:lnTo>
                <a:lnTo>
                  <a:pt x="56966" y="68932"/>
                </a:lnTo>
                <a:lnTo>
                  <a:pt x="56966" y="68727"/>
                </a:lnTo>
                <a:lnTo>
                  <a:pt x="56557" y="68625"/>
                </a:lnTo>
                <a:lnTo>
                  <a:pt x="55739" y="69648"/>
                </a:lnTo>
                <a:lnTo>
                  <a:pt x="55841" y="69545"/>
                </a:lnTo>
                <a:lnTo>
                  <a:pt x="55534" y="70364"/>
                </a:lnTo>
                <a:lnTo>
                  <a:pt x="54614" y="71182"/>
                </a:lnTo>
                <a:lnTo>
                  <a:pt x="54511" y="71898"/>
                </a:lnTo>
                <a:lnTo>
                  <a:pt x="52977" y="70364"/>
                </a:lnTo>
                <a:lnTo>
                  <a:pt x="52057" y="70261"/>
                </a:lnTo>
                <a:lnTo>
                  <a:pt x="51034" y="70875"/>
                </a:lnTo>
                <a:lnTo>
                  <a:pt x="50011" y="70670"/>
                </a:lnTo>
                <a:lnTo>
                  <a:pt x="50011" y="70670"/>
                </a:lnTo>
                <a:lnTo>
                  <a:pt x="50114" y="70875"/>
                </a:lnTo>
                <a:lnTo>
                  <a:pt x="48375" y="68420"/>
                </a:lnTo>
                <a:lnTo>
                  <a:pt x="48580" y="67602"/>
                </a:lnTo>
                <a:lnTo>
                  <a:pt x="48682" y="67705"/>
                </a:lnTo>
                <a:lnTo>
                  <a:pt x="48784" y="66989"/>
                </a:lnTo>
                <a:lnTo>
                  <a:pt x="48784" y="67193"/>
                </a:lnTo>
                <a:lnTo>
                  <a:pt x="49193" y="64739"/>
                </a:lnTo>
                <a:lnTo>
                  <a:pt x="48989" y="64330"/>
                </a:lnTo>
                <a:lnTo>
                  <a:pt x="48580" y="64125"/>
                </a:lnTo>
                <a:lnTo>
                  <a:pt x="48886" y="64227"/>
                </a:lnTo>
                <a:lnTo>
                  <a:pt x="48273" y="63716"/>
                </a:lnTo>
                <a:lnTo>
                  <a:pt x="44284" y="63614"/>
                </a:lnTo>
                <a:lnTo>
                  <a:pt x="45000" y="62795"/>
                </a:lnTo>
                <a:lnTo>
                  <a:pt x="45102" y="61159"/>
                </a:lnTo>
                <a:lnTo>
                  <a:pt x="45409" y="60648"/>
                </a:lnTo>
                <a:lnTo>
                  <a:pt x="45511" y="61261"/>
                </a:lnTo>
                <a:lnTo>
                  <a:pt x="46023" y="60136"/>
                </a:lnTo>
                <a:lnTo>
                  <a:pt x="45818" y="60239"/>
                </a:lnTo>
                <a:lnTo>
                  <a:pt x="46125" y="59932"/>
                </a:lnTo>
                <a:lnTo>
                  <a:pt x="46125" y="59625"/>
                </a:lnTo>
                <a:lnTo>
                  <a:pt x="46534" y="58807"/>
                </a:lnTo>
                <a:lnTo>
                  <a:pt x="46432" y="57989"/>
                </a:lnTo>
                <a:lnTo>
                  <a:pt x="43875" y="58295"/>
                </a:lnTo>
                <a:lnTo>
                  <a:pt x="42955" y="60239"/>
                </a:lnTo>
                <a:lnTo>
                  <a:pt x="42341" y="60648"/>
                </a:lnTo>
                <a:lnTo>
                  <a:pt x="42545" y="60648"/>
                </a:lnTo>
                <a:lnTo>
                  <a:pt x="42443" y="60955"/>
                </a:lnTo>
                <a:lnTo>
                  <a:pt x="39477" y="61261"/>
                </a:lnTo>
                <a:lnTo>
                  <a:pt x="38557" y="60750"/>
                </a:lnTo>
                <a:lnTo>
                  <a:pt x="38557" y="60750"/>
                </a:lnTo>
                <a:lnTo>
                  <a:pt x="38659" y="60852"/>
                </a:lnTo>
                <a:lnTo>
                  <a:pt x="38659" y="60852"/>
                </a:lnTo>
                <a:lnTo>
                  <a:pt x="38352" y="60648"/>
                </a:lnTo>
                <a:lnTo>
                  <a:pt x="38352" y="60648"/>
                </a:lnTo>
                <a:lnTo>
                  <a:pt x="38557" y="60750"/>
                </a:lnTo>
                <a:lnTo>
                  <a:pt x="37432" y="57989"/>
                </a:lnTo>
                <a:lnTo>
                  <a:pt x="37432" y="58193"/>
                </a:lnTo>
                <a:lnTo>
                  <a:pt x="37227" y="57375"/>
                </a:lnTo>
                <a:lnTo>
                  <a:pt x="37432" y="57989"/>
                </a:lnTo>
                <a:lnTo>
                  <a:pt x="38455" y="52159"/>
                </a:lnTo>
                <a:lnTo>
                  <a:pt x="38250" y="51750"/>
                </a:lnTo>
                <a:lnTo>
                  <a:pt x="38761" y="51545"/>
                </a:lnTo>
                <a:lnTo>
                  <a:pt x="38761" y="51341"/>
                </a:lnTo>
                <a:lnTo>
                  <a:pt x="39068" y="51136"/>
                </a:lnTo>
                <a:lnTo>
                  <a:pt x="38966" y="51136"/>
                </a:lnTo>
                <a:lnTo>
                  <a:pt x="39170" y="51034"/>
                </a:lnTo>
                <a:lnTo>
                  <a:pt x="39375" y="50830"/>
                </a:lnTo>
                <a:lnTo>
                  <a:pt x="39682" y="50727"/>
                </a:lnTo>
                <a:lnTo>
                  <a:pt x="39580" y="50523"/>
                </a:lnTo>
                <a:lnTo>
                  <a:pt x="40091" y="50625"/>
                </a:lnTo>
                <a:lnTo>
                  <a:pt x="41216" y="49909"/>
                </a:lnTo>
                <a:lnTo>
                  <a:pt x="41216" y="49705"/>
                </a:lnTo>
                <a:lnTo>
                  <a:pt x="41420" y="49398"/>
                </a:lnTo>
                <a:lnTo>
                  <a:pt x="41420" y="49602"/>
                </a:lnTo>
                <a:lnTo>
                  <a:pt x="41625" y="49602"/>
                </a:lnTo>
                <a:lnTo>
                  <a:pt x="41318" y="49807"/>
                </a:lnTo>
                <a:lnTo>
                  <a:pt x="42341" y="49193"/>
                </a:lnTo>
                <a:lnTo>
                  <a:pt x="43773" y="49602"/>
                </a:lnTo>
                <a:lnTo>
                  <a:pt x="43977" y="49398"/>
                </a:lnTo>
                <a:lnTo>
                  <a:pt x="44489" y="49602"/>
                </a:lnTo>
                <a:lnTo>
                  <a:pt x="44489" y="49909"/>
                </a:lnTo>
                <a:lnTo>
                  <a:pt x="44386" y="49909"/>
                </a:lnTo>
                <a:lnTo>
                  <a:pt x="45205" y="50114"/>
                </a:lnTo>
                <a:lnTo>
                  <a:pt x="45409" y="49705"/>
                </a:lnTo>
                <a:lnTo>
                  <a:pt x="45920" y="50216"/>
                </a:lnTo>
                <a:lnTo>
                  <a:pt x="46125" y="50216"/>
                </a:lnTo>
                <a:lnTo>
                  <a:pt x="45818" y="49705"/>
                </a:lnTo>
                <a:lnTo>
                  <a:pt x="46227" y="49091"/>
                </a:lnTo>
                <a:lnTo>
                  <a:pt x="46227" y="49091"/>
                </a:lnTo>
                <a:lnTo>
                  <a:pt x="45920" y="49295"/>
                </a:lnTo>
                <a:lnTo>
                  <a:pt x="46023" y="48989"/>
                </a:lnTo>
                <a:lnTo>
                  <a:pt x="45307" y="49091"/>
                </a:lnTo>
                <a:lnTo>
                  <a:pt x="47557" y="48477"/>
                </a:lnTo>
                <a:lnTo>
                  <a:pt x="47557" y="48477"/>
                </a:lnTo>
                <a:lnTo>
                  <a:pt x="47455" y="48989"/>
                </a:lnTo>
                <a:lnTo>
                  <a:pt x="47966" y="48784"/>
                </a:lnTo>
                <a:lnTo>
                  <a:pt x="47966" y="48886"/>
                </a:lnTo>
                <a:lnTo>
                  <a:pt x="48477" y="48580"/>
                </a:lnTo>
                <a:lnTo>
                  <a:pt x="48477" y="48580"/>
                </a:lnTo>
                <a:lnTo>
                  <a:pt x="48170" y="48886"/>
                </a:lnTo>
                <a:lnTo>
                  <a:pt x="48886" y="48784"/>
                </a:lnTo>
                <a:lnTo>
                  <a:pt x="49602" y="48886"/>
                </a:lnTo>
                <a:lnTo>
                  <a:pt x="49500" y="49091"/>
                </a:lnTo>
                <a:lnTo>
                  <a:pt x="49655" y="49401"/>
                </a:lnTo>
                <a:lnTo>
                  <a:pt x="49655" y="49401"/>
                </a:lnTo>
                <a:lnTo>
                  <a:pt x="51239" y="49500"/>
                </a:lnTo>
                <a:lnTo>
                  <a:pt x="51750" y="50216"/>
                </a:lnTo>
                <a:lnTo>
                  <a:pt x="51443" y="51545"/>
                </a:lnTo>
                <a:lnTo>
                  <a:pt x="51648" y="51239"/>
                </a:lnTo>
                <a:lnTo>
                  <a:pt x="51852" y="51341"/>
                </a:lnTo>
                <a:lnTo>
                  <a:pt x="51443" y="51750"/>
                </a:lnTo>
                <a:lnTo>
                  <a:pt x="52670" y="54102"/>
                </a:lnTo>
                <a:lnTo>
                  <a:pt x="52875" y="54102"/>
                </a:lnTo>
                <a:lnTo>
                  <a:pt x="53485" y="53390"/>
                </a:lnTo>
                <a:lnTo>
                  <a:pt x="53485" y="53390"/>
                </a:lnTo>
                <a:lnTo>
                  <a:pt x="53403" y="50915"/>
                </a:lnTo>
                <a:lnTo>
                  <a:pt x="53591" y="50727"/>
                </a:lnTo>
                <a:lnTo>
                  <a:pt x="53489" y="47761"/>
                </a:lnTo>
                <a:lnTo>
                  <a:pt x="53693" y="47659"/>
                </a:lnTo>
                <a:lnTo>
                  <a:pt x="54307" y="46636"/>
                </a:lnTo>
                <a:lnTo>
                  <a:pt x="54307" y="46841"/>
                </a:lnTo>
                <a:lnTo>
                  <a:pt x="54409" y="46739"/>
                </a:lnTo>
                <a:lnTo>
                  <a:pt x="54409" y="46636"/>
                </a:lnTo>
                <a:lnTo>
                  <a:pt x="55841" y="45716"/>
                </a:lnTo>
                <a:lnTo>
                  <a:pt x="55841" y="45818"/>
                </a:lnTo>
                <a:lnTo>
                  <a:pt x="57170" y="44898"/>
                </a:lnTo>
                <a:lnTo>
                  <a:pt x="57170" y="45102"/>
                </a:lnTo>
                <a:lnTo>
                  <a:pt x="57784" y="44284"/>
                </a:lnTo>
                <a:lnTo>
                  <a:pt x="58705" y="44080"/>
                </a:lnTo>
                <a:lnTo>
                  <a:pt x="58193" y="43875"/>
                </a:lnTo>
                <a:lnTo>
                  <a:pt x="58602" y="43875"/>
                </a:lnTo>
                <a:lnTo>
                  <a:pt x="58295" y="43466"/>
                </a:lnTo>
                <a:lnTo>
                  <a:pt x="59420" y="43364"/>
                </a:lnTo>
                <a:lnTo>
                  <a:pt x="59523" y="43057"/>
                </a:lnTo>
                <a:lnTo>
                  <a:pt x="59523" y="43057"/>
                </a:lnTo>
                <a:lnTo>
                  <a:pt x="59216" y="43364"/>
                </a:lnTo>
                <a:lnTo>
                  <a:pt x="58705" y="43057"/>
                </a:lnTo>
                <a:lnTo>
                  <a:pt x="58807" y="42750"/>
                </a:lnTo>
                <a:lnTo>
                  <a:pt x="59216" y="42852"/>
                </a:lnTo>
                <a:lnTo>
                  <a:pt x="59318" y="42750"/>
                </a:lnTo>
                <a:lnTo>
                  <a:pt x="59523" y="42852"/>
                </a:lnTo>
                <a:lnTo>
                  <a:pt x="59523" y="42545"/>
                </a:lnTo>
                <a:lnTo>
                  <a:pt x="59420" y="42034"/>
                </a:lnTo>
                <a:lnTo>
                  <a:pt x="59216" y="41932"/>
                </a:lnTo>
                <a:lnTo>
                  <a:pt x="58705" y="41625"/>
                </a:lnTo>
                <a:lnTo>
                  <a:pt x="59114" y="41727"/>
                </a:lnTo>
                <a:lnTo>
                  <a:pt x="59216" y="41932"/>
                </a:lnTo>
                <a:lnTo>
                  <a:pt x="59216" y="41932"/>
                </a:lnTo>
                <a:lnTo>
                  <a:pt x="59114" y="41420"/>
                </a:lnTo>
                <a:lnTo>
                  <a:pt x="59420" y="41420"/>
                </a:lnTo>
                <a:lnTo>
                  <a:pt x="59523" y="41318"/>
                </a:lnTo>
                <a:lnTo>
                  <a:pt x="59011" y="40705"/>
                </a:lnTo>
                <a:lnTo>
                  <a:pt x="59523" y="41216"/>
                </a:lnTo>
                <a:lnTo>
                  <a:pt x="59523" y="40807"/>
                </a:lnTo>
                <a:lnTo>
                  <a:pt x="58909" y="40500"/>
                </a:lnTo>
                <a:lnTo>
                  <a:pt x="59318" y="39989"/>
                </a:lnTo>
                <a:lnTo>
                  <a:pt x="59011" y="40500"/>
                </a:lnTo>
                <a:lnTo>
                  <a:pt x="59216" y="40398"/>
                </a:lnTo>
                <a:lnTo>
                  <a:pt x="59216" y="40602"/>
                </a:lnTo>
                <a:lnTo>
                  <a:pt x="59318" y="40500"/>
                </a:lnTo>
                <a:lnTo>
                  <a:pt x="59625" y="40807"/>
                </a:lnTo>
                <a:lnTo>
                  <a:pt x="59523" y="40295"/>
                </a:lnTo>
                <a:lnTo>
                  <a:pt x="59727" y="40500"/>
                </a:lnTo>
                <a:lnTo>
                  <a:pt x="59830" y="39580"/>
                </a:lnTo>
                <a:lnTo>
                  <a:pt x="60034" y="39477"/>
                </a:lnTo>
                <a:lnTo>
                  <a:pt x="60034" y="39580"/>
                </a:lnTo>
                <a:lnTo>
                  <a:pt x="60136" y="39375"/>
                </a:lnTo>
                <a:lnTo>
                  <a:pt x="60136" y="39477"/>
                </a:lnTo>
                <a:lnTo>
                  <a:pt x="60443" y="39273"/>
                </a:lnTo>
                <a:lnTo>
                  <a:pt x="60443" y="39375"/>
                </a:lnTo>
                <a:lnTo>
                  <a:pt x="60341" y="39477"/>
                </a:lnTo>
                <a:lnTo>
                  <a:pt x="60443" y="39477"/>
                </a:lnTo>
                <a:lnTo>
                  <a:pt x="60034" y="39784"/>
                </a:lnTo>
                <a:lnTo>
                  <a:pt x="60136" y="39784"/>
                </a:lnTo>
                <a:lnTo>
                  <a:pt x="59830" y="40193"/>
                </a:lnTo>
                <a:lnTo>
                  <a:pt x="60136" y="40295"/>
                </a:lnTo>
                <a:lnTo>
                  <a:pt x="60136" y="40500"/>
                </a:lnTo>
                <a:lnTo>
                  <a:pt x="60034" y="40705"/>
                </a:lnTo>
                <a:lnTo>
                  <a:pt x="60034" y="40909"/>
                </a:lnTo>
                <a:lnTo>
                  <a:pt x="60136" y="40909"/>
                </a:lnTo>
                <a:lnTo>
                  <a:pt x="59727" y="41830"/>
                </a:lnTo>
                <a:lnTo>
                  <a:pt x="60750" y="40500"/>
                </a:lnTo>
                <a:lnTo>
                  <a:pt x="60750" y="39375"/>
                </a:lnTo>
                <a:lnTo>
                  <a:pt x="61057" y="39886"/>
                </a:lnTo>
                <a:lnTo>
                  <a:pt x="62182" y="38864"/>
                </a:lnTo>
                <a:lnTo>
                  <a:pt x="62386" y="38455"/>
                </a:lnTo>
                <a:lnTo>
                  <a:pt x="62284" y="38250"/>
                </a:lnTo>
                <a:lnTo>
                  <a:pt x="62591" y="37636"/>
                </a:lnTo>
                <a:lnTo>
                  <a:pt x="62489" y="38148"/>
                </a:lnTo>
                <a:lnTo>
                  <a:pt x="64943" y="37125"/>
                </a:lnTo>
                <a:lnTo>
                  <a:pt x="65045" y="37227"/>
                </a:lnTo>
                <a:lnTo>
                  <a:pt x="65148" y="37125"/>
                </a:lnTo>
                <a:lnTo>
                  <a:pt x="65148" y="37125"/>
                </a:lnTo>
                <a:lnTo>
                  <a:pt x="65045" y="37432"/>
                </a:lnTo>
                <a:lnTo>
                  <a:pt x="65557" y="37227"/>
                </a:lnTo>
                <a:lnTo>
                  <a:pt x="65557" y="37227"/>
                </a:lnTo>
                <a:lnTo>
                  <a:pt x="65455" y="37330"/>
                </a:lnTo>
                <a:lnTo>
                  <a:pt x="66068" y="37227"/>
                </a:lnTo>
                <a:lnTo>
                  <a:pt x="65966" y="36818"/>
                </a:lnTo>
                <a:lnTo>
                  <a:pt x="65761" y="37125"/>
                </a:lnTo>
                <a:lnTo>
                  <a:pt x="65455" y="36614"/>
                </a:lnTo>
                <a:lnTo>
                  <a:pt x="66784" y="35080"/>
                </a:lnTo>
                <a:lnTo>
                  <a:pt x="66886" y="35182"/>
                </a:lnTo>
                <a:lnTo>
                  <a:pt x="66989" y="34977"/>
                </a:lnTo>
                <a:lnTo>
                  <a:pt x="66989" y="35080"/>
                </a:lnTo>
                <a:lnTo>
                  <a:pt x="67091" y="34875"/>
                </a:lnTo>
                <a:lnTo>
                  <a:pt x="67091" y="35080"/>
                </a:lnTo>
                <a:lnTo>
                  <a:pt x="67193" y="34977"/>
                </a:lnTo>
                <a:lnTo>
                  <a:pt x="68011" y="34364"/>
                </a:lnTo>
                <a:lnTo>
                  <a:pt x="68011" y="34466"/>
                </a:lnTo>
                <a:lnTo>
                  <a:pt x="67909" y="34568"/>
                </a:lnTo>
                <a:lnTo>
                  <a:pt x="68114" y="34670"/>
                </a:lnTo>
                <a:lnTo>
                  <a:pt x="68216" y="34364"/>
                </a:lnTo>
                <a:lnTo>
                  <a:pt x="68523" y="34568"/>
                </a:lnTo>
                <a:lnTo>
                  <a:pt x="69136" y="34261"/>
                </a:lnTo>
                <a:lnTo>
                  <a:pt x="69545" y="33648"/>
                </a:lnTo>
                <a:lnTo>
                  <a:pt x="70568" y="33443"/>
                </a:lnTo>
                <a:lnTo>
                  <a:pt x="70466" y="33545"/>
                </a:lnTo>
                <a:lnTo>
                  <a:pt x="71795" y="32932"/>
                </a:lnTo>
                <a:lnTo>
                  <a:pt x="72102" y="33034"/>
                </a:lnTo>
                <a:lnTo>
                  <a:pt x="71386" y="33443"/>
                </a:lnTo>
                <a:lnTo>
                  <a:pt x="72716" y="33443"/>
                </a:lnTo>
                <a:lnTo>
                  <a:pt x="71898" y="33852"/>
                </a:lnTo>
                <a:lnTo>
                  <a:pt x="71898" y="33545"/>
                </a:lnTo>
                <a:lnTo>
                  <a:pt x="71795" y="33545"/>
                </a:lnTo>
                <a:lnTo>
                  <a:pt x="70568" y="34261"/>
                </a:lnTo>
                <a:lnTo>
                  <a:pt x="70568" y="34261"/>
                </a:lnTo>
                <a:lnTo>
                  <a:pt x="70364" y="34364"/>
                </a:lnTo>
                <a:lnTo>
                  <a:pt x="69955" y="35182"/>
                </a:lnTo>
                <a:lnTo>
                  <a:pt x="70261" y="35386"/>
                </a:lnTo>
                <a:lnTo>
                  <a:pt x="71795" y="34364"/>
                </a:lnTo>
                <a:lnTo>
                  <a:pt x="71795" y="34466"/>
                </a:lnTo>
                <a:lnTo>
                  <a:pt x="71898" y="34261"/>
                </a:lnTo>
                <a:lnTo>
                  <a:pt x="74250" y="33648"/>
                </a:lnTo>
                <a:lnTo>
                  <a:pt x="74250" y="33443"/>
                </a:lnTo>
                <a:lnTo>
                  <a:pt x="74250" y="33136"/>
                </a:lnTo>
                <a:lnTo>
                  <a:pt x="73943" y="32932"/>
                </a:lnTo>
                <a:lnTo>
                  <a:pt x="73227" y="33239"/>
                </a:lnTo>
                <a:lnTo>
                  <a:pt x="73330" y="33136"/>
                </a:lnTo>
                <a:lnTo>
                  <a:pt x="72307" y="32830"/>
                </a:lnTo>
                <a:lnTo>
                  <a:pt x="72511" y="32727"/>
                </a:lnTo>
                <a:lnTo>
                  <a:pt x="72000" y="32420"/>
                </a:lnTo>
                <a:lnTo>
                  <a:pt x="72000" y="31807"/>
                </a:lnTo>
                <a:lnTo>
                  <a:pt x="71693" y="31705"/>
                </a:lnTo>
                <a:lnTo>
                  <a:pt x="72409" y="31091"/>
                </a:lnTo>
                <a:lnTo>
                  <a:pt x="72146" y="31003"/>
                </a:lnTo>
                <a:lnTo>
                  <a:pt x="72146" y="31003"/>
                </a:lnTo>
                <a:lnTo>
                  <a:pt x="71795" y="31091"/>
                </a:lnTo>
                <a:lnTo>
                  <a:pt x="70875" y="30784"/>
                </a:lnTo>
                <a:lnTo>
                  <a:pt x="72102" y="30784"/>
                </a:lnTo>
                <a:lnTo>
                  <a:pt x="72818" y="29966"/>
                </a:lnTo>
                <a:lnTo>
                  <a:pt x="70568" y="29966"/>
                </a:lnTo>
                <a:lnTo>
                  <a:pt x="63307" y="33852"/>
                </a:lnTo>
                <a:lnTo>
                  <a:pt x="63307" y="33852"/>
                </a:lnTo>
                <a:lnTo>
                  <a:pt x="68114" y="31091"/>
                </a:lnTo>
                <a:lnTo>
                  <a:pt x="67602" y="30375"/>
                </a:lnTo>
                <a:lnTo>
                  <a:pt x="79977" y="27205"/>
                </a:lnTo>
                <a:lnTo>
                  <a:pt x="80795" y="26489"/>
                </a:lnTo>
                <a:lnTo>
                  <a:pt x="80591" y="26284"/>
                </a:lnTo>
                <a:lnTo>
                  <a:pt x="81000" y="26080"/>
                </a:lnTo>
                <a:lnTo>
                  <a:pt x="81205" y="25466"/>
                </a:lnTo>
                <a:lnTo>
                  <a:pt x="80898" y="25159"/>
                </a:lnTo>
                <a:lnTo>
                  <a:pt x="80080" y="25364"/>
                </a:lnTo>
                <a:lnTo>
                  <a:pt x="79977" y="25261"/>
                </a:lnTo>
                <a:lnTo>
                  <a:pt x="80386" y="24852"/>
                </a:lnTo>
                <a:lnTo>
                  <a:pt x="79875" y="24750"/>
                </a:lnTo>
                <a:lnTo>
                  <a:pt x="77727" y="25568"/>
                </a:lnTo>
                <a:lnTo>
                  <a:pt x="78034" y="25364"/>
                </a:lnTo>
                <a:lnTo>
                  <a:pt x="77830" y="25261"/>
                </a:lnTo>
                <a:lnTo>
                  <a:pt x="80182" y="24545"/>
                </a:lnTo>
                <a:lnTo>
                  <a:pt x="80182" y="24034"/>
                </a:lnTo>
                <a:lnTo>
                  <a:pt x="79773" y="24136"/>
                </a:lnTo>
                <a:lnTo>
                  <a:pt x="79261" y="23727"/>
                </a:lnTo>
                <a:lnTo>
                  <a:pt x="78648" y="24034"/>
                </a:lnTo>
                <a:lnTo>
                  <a:pt x="79159" y="23727"/>
                </a:lnTo>
                <a:lnTo>
                  <a:pt x="78852" y="23625"/>
                </a:lnTo>
                <a:lnTo>
                  <a:pt x="78239" y="23830"/>
                </a:lnTo>
                <a:lnTo>
                  <a:pt x="78648" y="23523"/>
                </a:lnTo>
                <a:lnTo>
                  <a:pt x="78648" y="23114"/>
                </a:lnTo>
                <a:lnTo>
                  <a:pt x="78545" y="23216"/>
                </a:lnTo>
                <a:lnTo>
                  <a:pt x="78443" y="23011"/>
                </a:lnTo>
                <a:lnTo>
                  <a:pt x="77932" y="22909"/>
                </a:lnTo>
                <a:lnTo>
                  <a:pt x="78136" y="22705"/>
                </a:lnTo>
                <a:lnTo>
                  <a:pt x="77830" y="22705"/>
                </a:lnTo>
                <a:lnTo>
                  <a:pt x="78136" y="22602"/>
                </a:lnTo>
                <a:lnTo>
                  <a:pt x="77727" y="22500"/>
                </a:lnTo>
                <a:lnTo>
                  <a:pt x="77932" y="22398"/>
                </a:lnTo>
                <a:lnTo>
                  <a:pt x="77523" y="22193"/>
                </a:lnTo>
                <a:lnTo>
                  <a:pt x="78341" y="22091"/>
                </a:lnTo>
                <a:lnTo>
                  <a:pt x="77727" y="21477"/>
                </a:lnTo>
                <a:lnTo>
                  <a:pt x="78341" y="21170"/>
                </a:lnTo>
                <a:lnTo>
                  <a:pt x="78034" y="20864"/>
                </a:lnTo>
                <a:lnTo>
                  <a:pt x="77420" y="20966"/>
                </a:lnTo>
                <a:lnTo>
                  <a:pt x="77420" y="20966"/>
                </a:lnTo>
                <a:lnTo>
                  <a:pt x="78136" y="20557"/>
                </a:lnTo>
                <a:lnTo>
                  <a:pt x="77318" y="20659"/>
                </a:lnTo>
                <a:lnTo>
                  <a:pt x="77318" y="20659"/>
                </a:lnTo>
                <a:lnTo>
                  <a:pt x="77932" y="20455"/>
                </a:lnTo>
                <a:lnTo>
                  <a:pt x="77727" y="20148"/>
                </a:lnTo>
                <a:lnTo>
                  <a:pt x="77932" y="20045"/>
                </a:lnTo>
                <a:lnTo>
                  <a:pt x="77318" y="20045"/>
                </a:lnTo>
                <a:lnTo>
                  <a:pt x="77727" y="19943"/>
                </a:lnTo>
                <a:lnTo>
                  <a:pt x="77523" y="19636"/>
                </a:lnTo>
                <a:lnTo>
                  <a:pt x="77727" y="19534"/>
                </a:lnTo>
                <a:lnTo>
                  <a:pt x="77625" y="19330"/>
                </a:lnTo>
                <a:lnTo>
                  <a:pt x="77420" y="19330"/>
                </a:lnTo>
                <a:lnTo>
                  <a:pt x="77216" y="19125"/>
                </a:lnTo>
                <a:lnTo>
                  <a:pt x="77216" y="18818"/>
                </a:lnTo>
                <a:lnTo>
                  <a:pt x="76705" y="19739"/>
                </a:lnTo>
                <a:lnTo>
                  <a:pt x="76398" y="19739"/>
                </a:lnTo>
                <a:lnTo>
                  <a:pt x="76295" y="20045"/>
                </a:lnTo>
                <a:lnTo>
                  <a:pt x="75580" y="20557"/>
                </a:lnTo>
                <a:lnTo>
                  <a:pt x="75477" y="20250"/>
                </a:lnTo>
                <a:lnTo>
                  <a:pt x="74148" y="21068"/>
                </a:lnTo>
                <a:lnTo>
                  <a:pt x="74250" y="20659"/>
                </a:lnTo>
                <a:lnTo>
                  <a:pt x="73943" y="20864"/>
                </a:lnTo>
                <a:lnTo>
                  <a:pt x="73841" y="20761"/>
                </a:lnTo>
                <a:lnTo>
                  <a:pt x="73739" y="20761"/>
                </a:lnTo>
                <a:lnTo>
                  <a:pt x="73943" y="20250"/>
                </a:lnTo>
                <a:lnTo>
                  <a:pt x="72716" y="20250"/>
                </a:lnTo>
                <a:lnTo>
                  <a:pt x="73534" y="19739"/>
                </a:lnTo>
                <a:lnTo>
                  <a:pt x="73330" y="19739"/>
                </a:lnTo>
                <a:lnTo>
                  <a:pt x="73534" y="19330"/>
                </a:lnTo>
                <a:lnTo>
                  <a:pt x="72920" y="19125"/>
                </a:lnTo>
                <a:lnTo>
                  <a:pt x="73636" y="19023"/>
                </a:lnTo>
                <a:lnTo>
                  <a:pt x="74148" y="18102"/>
                </a:lnTo>
                <a:lnTo>
                  <a:pt x="74148" y="18102"/>
                </a:lnTo>
                <a:lnTo>
                  <a:pt x="73841" y="18307"/>
                </a:lnTo>
                <a:lnTo>
                  <a:pt x="72716" y="17795"/>
                </a:lnTo>
                <a:lnTo>
                  <a:pt x="73023" y="17591"/>
                </a:lnTo>
                <a:lnTo>
                  <a:pt x="72511" y="17591"/>
                </a:lnTo>
                <a:lnTo>
                  <a:pt x="72000" y="16875"/>
                </a:lnTo>
                <a:lnTo>
                  <a:pt x="70364" y="17080"/>
                </a:lnTo>
                <a:lnTo>
                  <a:pt x="70466" y="16977"/>
                </a:lnTo>
                <a:lnTo>
                  <a:pt x="68932" y="16875"/>
                </a:lnTo>
                <a:lnTo>
                  <a:pt x="68727" y="17693"/>
                </a:lnTo>
                <a:lnTo>
                  <a:pt x="67909" y="18307"/>
                </a:lnTo>
                <a:lnTo>
                  <a:pt x="68318" y="18307"/>
                </a:lnTo>
                <a:lnTo>
                  <a:pt x="67909" y="19023"/>
                </a:lnTo>
                <a:lnTo>
                  <a:pt x="68114" y="19125"/>
                </a:lnTo>
                <a:lnTo>
                  <a:pt x="66580" y="20250"/>
                </a:lnTo>
                <a:lnTo>
                  <a:pt x="67193" y="21784"/>
                </a:lnTo>
                <a:lnTo>
                  <a:pt x="63511" y="24239"/>
                </a:lnTo>
                <a:lnTo>
                  <a:pt x="63716" y="24750"/>
                </a:lnTo>
                <a:lnTo>
                  <a:pt x="63614" y="24750"/>
                </a:lnTo>
                <a:lnTo>
                  <a:pt x="63716" y="25057"/>
                </a:lnTo>
                <a:lnTo>
                  <a:pt x="63307" y="26591"/>
                </a:lnTo>
                <a:lnTo>
                  <a:pt x="62693" y="27000"/>
                </a:lnTo>
                <a:lnTo>
                  <a:pt x="62795" y="27307"/>
                </a:lnTo>
                <a:lnTo>
                  <a:pt x="62489" y="27614"/>
                </a:lnTo>
                <a:lnTo>
                  <a:pt x="62386" y="27205"/>
                </a:lnTo>
                <a:lnTo>
                  <a:pt x="61977" y="27511"/>
                </a:lnTo>
                <a:lnTo>
                  <a:pt x="61977" y="28023"/>
                </a:lnTo>
                <a:lnTo>
                  <a:pt x="60955" y="27716"/>
                </a:lnTo>
                <a:lnTo>
                  <a:pt x="61364" y="27000"/>
                </a:lnTo>
                <a:lnTo>
                  <a:pt x="60648" y="26591"/>
                </a:lnTo>
                <a:lnTo>
                  <a:pt x="61466" y="24341"/>
                </a:lnTo>
                <a:lnTo>
                  <a:pt x="60852" y="23625"/>
                </a:lnTo>
                <a:lnTo>
                  <a:pt x="59420" y="23830"/>
                </a:lnTo>
                <a:lnTo>
                  <a:pt x="59216" y="23216"/>
                </a:lnTo>
                <a:lnTo>
                  <a:pt x="57682" y="22091"/>
                </a:lnTo>
                <a:lnTo>
                  <a:pt x="55227" y="21989"/>
                </a:lnTo>
                <a:lnTo>
                  <a:pt x="55330" y="21886"/>
                </a:lnTo>
                <a:lnTo>
                  <a:pt x="54920" y="22091"/>
                </a:lnTo>
                <a:lnTo>
                  <a:pt x="55636" y="20761"/>
                </a:lnTo>
                <a:lnTo>
                  <a:pt x="55534" y="20250"/>
                </a:lnTo>
                <a:lnTo>
                  <a:pt x="54614" y="20761"/>
                </a:lnTo>
                <a:lnTo>
                  <a:pt x="54920" y="20352"/>
                </a:lnTo>
                <a:lnTo>
                  <a:pt x="54716" y="20045"/>
                </a:lnTo>
                <a:lnTo>
                  <a:pt x="57580" y="17489"/>
                </a:lnTo>
                <a:lnTo>
                  <a:pt x="57580" y="17284"/>
                </a:lnTo>
                <a:lnTo>
                  <a:pt x="58091" y="16875"/>
                </a:lnTo>
                <a:lnTo>
                  <a:pt x="58398" y="17080"/>
                </a:lnTo>
                <a:lnTo>
                  <a:pt x="58398" y="16875"/>
                </a:lnTo>
                <a:lnTo>
                  <a:pt x="59114" y="16670"/>
                </a:lnTo>
                <a:lnTo>
                  <a:pt x="59216" y="16466"/>
                </a:lnTo>
                <a:lnTo>
                  <a:pt x="60136" y="16364"/>
                </a:lnTo>
                <a:lnTo>
                  <a:pt x="60239" y="15852"/>
                </a:lnTo>
                <a:lnTo>
                  <a:pt x="59830" y="15648"/>
                </a:lnTo>
                <a:lnTo>
                  <a:pt x="59420" y="15852"/>
                </a:lnTo>
                <a:lnTo>
                  <a:pt x="59727" y="15648"/>
                </a:lnTo>
                <a:lnTo>
                  <a:pt x="59011" y="15443"/>
                </a:lnTo>
                <a:lnTo>
                  <a:pt x="58909" y="15239"/>
                </a:lnTo>
                <a:lnTo>
                  <a:pt x="59932" y="15545"/>
                </a:lnTo>
                <a:lnTo>
                  <a:pt x="59932" y="15648"/>
                </a:lnTo>
                <a:lnTo>
                  <a:pt x="64227" y="14318"/>
                </a:lnTo>
                <a:lnTo>
                  <a:pt x="61670" y="13602"/>
                </a:lnTo>
                <a:lnTo>
                  <a:pt x="62693" y="13705"/>
                </a:lnTo>
                <a:lnTo>
                  <a:pt x="64330" y="14114"/>
                </a:lnTo>
                <a:lnTo>
                  <a:pt x="65455" y="13602"/>
                </a:lnTo>
                <a:lnTo>
                  <a:pt x="65250" y="13193"/>
                </a:lnTo>
                <a:lnTo>
                  <a:pt x="66170" y="13091"/>
                </a:lnTo>
                <a:lnTo>
                  <a:pt x="66375" y="13398"/>
                </a:lnTo>
                <a:lnTo>
                  <a:pt x="66784" y="13295"/>
                </a:lnTo>
                <a:lnTo>
                  <a:pt x="67091" y="13091"/>
                </a:lnTo>
                <a:lnTo>
                  <a:pt x="66580" y="12784"/>
                </a:lnTo>
                <a:lnTo>
                  <a:pt x="66580" y="12784"/>
                </a:lnTo>
                <a:lnTo>
                  <a:pt x="67091" y="12886"/>
                </a:lnTo>
                <a:lnTo>
                  <a:pt x="67398" y="13295"/>
                </a:lnTo>
                <a:lnTo>
                  <a:pt x="69545" y="12273"/>
                </a:lnTo>
                <a:lnTo>
                  <a:pt x="69443" y="11659"/>
                </a:lnTo>
                <a:lnTo>
                  <a:pt x="69955" y="11045"/>
                </a:lnTo>
                <a:lnTo>
                  <a:pt x="70568" y="10841"/>
                </a:lnTo>
                <a:lnTo>
                  <a:pt x="69955" y="10739"/>
                </a:lnTo>
                <a:lnTo>
                  <a:pt x="69852" y="10534"/>
                </a:lnTo>
                <a:lnTo>
                  <a:pt x="70159" y="10432"/>
                </a:lnTo>
                <a:lnTo>
                  <a:pt x="68216" y="10227"/>
                </a:lnTo>
                <a:lnTo>
                  <a:pt x="67909" y="10739"/>
                </a:lnTo>
                <a:lnTo>
                  <a:pt x="68114" y="10943"/>
                </a:lnTo>
                <a:lnTo>
                  <a:pt x="67807" y="11045"/>
                </a:lnTo>
                <a:lnTo>
                  <a:pt x="68011" y="11148"/>
                </a:lnTo>
                <a:lnTo>
                  <a:pt x="65352" y="12580"/>
                </a:lnTo>
                <a:lnTo>
                  <a:pt x="65148" y="11761"/>
                </a:lnTo>
                <a:lnTo>
                  <a:pt x="65352" y="11557"/>
                </a:lnTo>
                <a:lnTo>
                  <a:pt x="65455" y="11557"/>
                </a:lnTo>
                <a:lnTo>
                  <a:pt x="65864" y="11045"/>
                </a:lnTo>
                <a:lnTo>
                  <a:pt x="64841" y="11045"/>
                </a:lnTo>
                <a:lnTo>
                  <a:pt x="64023" y="11557"/>
                </a:lnTo>
                <a:lnTo>
                  <a:pt x="64023" y="11557"/>
                </a:lnTo>
                <a:lnTo>
                  <a:pt x="64125" y="10739"/>
                </a:lnTo>
                <a:lnTo>
                  <a:pt x="64739" y="10534"/>
                </a:lnTo>
                <a:lnTo>
                  <a:pt x="64125" y="10534"/>
                </a:lnTo>
                <a:lnTo>
                  <a:pt x="64432" y="10432"/>
                </a:lnTo>
                <a:lnTo>
                  <a:pt x="63307" y="10330"/>
                </a:lnTo>
                <a:lnTo>
                  <a:pt x="64125" y="10023"/>
                </a:lnTo>
                <a:lnTo>
                  <a:pt x="63818" y="10023"/>
                </a:lnTo>
                <a:lnTo>
                  <a:pt x="64330" y="9920"/>
                </a:lnTo>
                <a:lnTo>
                  <a:pt x="64125" y="9409"/>
                </a:lnTo>
                <a:lnTo>
                  <a:pt x="64432" y="9000"/>
                </a:lnTo>
                <a:lnTo>
                  <a:pt x="64227" y="8591"/>
                </a:lnTo>
                <a:lnTo>
                  <a:pt x="63920" y="8386"/>
                </a:lnTo>
                <a:close/>
              </a:path>
            </a:pathLst>
          </a:custGeom>
          <a:solidFill>
            <a:srgbClr val="18476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" name="Google Shape;360;p14">
            <a:extLst>
              <a:ext uri="{FF2B5EF4-FFF2-40B4-BE49-F238E27FC236}">
                <a16:creationId xmlns:a16="http://schemas.microsoft.com/office/drawing/2014/main" id="{D78306A0-6935-48C9-91ED-B486A60A7C1C}"/>
              </a:ext>
            </a:extLst>
          </p:cNvPr>
          <p:cNvSpPr txBox="1">
            <a:spLocks/>
          </p:cNvSpPr>
          <p:nvPr/>
        </p:nvSpPr>
        <p:spPr>
          <a:xfrm>
            <a:off x="-1" y="2322361"/>
            <a:ext cx="9144000" cy="7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1400"/>
              <a:buFont typeface="Muli"/>
              <a:buNone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1400"/>
              <a:buFont typeface="Muli"/>
              <a:buNone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1400"/>
              <a:buFont typeface="Muli"/>
              <a:buNone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1400"/>
              <a:buFont typeface="Muli"/>
              <a:buNone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1400"/>
              <a:buFont typeface="Muli"/>
              <a:buNone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6DAEC"/>
              </a:buClr>
              <a:buSzPts val="1400"/>
              <a:buFont typeface="Muli"/>
              <a:buNone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6DAEC"/>
              </a:buClr>
              <a:buSzPts val="1400"/>
              <a:buFont typeface="Muli"/>
              <a:buNone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6DAEC"/>
              </a:buClr>
              <a:buSzPts val="1400"/>
              <a:buFont typeface="Muli"/>
              <a:buNone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6DAEC"/>
              </a:buClr>
              <a:buSzPts val="1400"/>
              <a:buFont typeface="Muli"/>
              <a:buNone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9pPr>
          </a:lstStyle>
          <a:p>
            <a:pPr marL="0" indent="0" algn="ctr"/>
            <a:r>
              <a:rPr lang="pt-BR" dirty="0"/>
              <a:t>Lozalização geográfica dos incidentes indentificados, para uma maior agilidade e uma correção precisa.</a:t>
            </a:r>
          </a:p>
        </p:txBody>
      </p:sp>
      <p:pic>
        <p:nvPicPr>
          <p:cNvPr id="9" name="Picture 1">
            <a:extLst>
              <a:ext uri="{FF2B5EF4-FFF2-40B4-BE49-F238E27FC236}">
                <a16:creationId xmlns:a16="http://schemas.microsoft.com/office/drawing/2014/main" id="{B580145C-4EF8-4044-9A1E-2F05CF31FA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5932" y="3107161"/>
            <a:ext cx="1060721" cy="1166793"/>
          </a:xfrm>
          <a:prstGeom prst="rect">
            <a:avLst/>
          </a:prstGeom>
        </p:spPr>
      </p:pic>
      <p:sp>
        <p:nvSpPr>
          <p:cNvPr id="10" name="Google Shape;359;p14">
            <a:extLst>
              <a:ext uri="{FF2B5EF4-FFF2-40B4-BE49-F238E27FC236}">
                <a16:creationId xmlns:a16="http://schemas.microsoft.com/office/drawing/2014/main" id="{1E983B50-5A84-4952-B735-C4C372D4357E}"/>
              </a:ext>
            </a:extLst>
          </p:cNvPr>
          <p:cNvSpPr txBox="1">
            <a:spLocks/>
          </p:cNvSpPr>
          <p:nvPr/>
        </p:nvSpPr>
        <p:spPr>
          <a:xfrm>
            <a:off x="-1" y="179026"/>
            <a:ext cx="9144001" cy="1163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9pPr>
          </a:lstStyle>
          <a:p>
            <a:pPr algn="ctr"/>
            <a:r>
              <a:rPr lang="pt-BR" b="1" dirty="0"/>
              <a:t>Inovação:</a:t>
            </a:r>
          </a:p>
          <a:p>
            <a:pPr algn="ctr"/>
            <a:r>
              <a:rPr lang="pt-BR" b="1" dirty="0"/>
              <a:t> Geolozalização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947660" y="65785"/>
            <a:ext cx="41559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 smtClean="0">
                <a:solidFill>
                  <a:schemeClr val="bg1">
                    <a:lumMod val="85000"/>
                  </a:schemeClr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Courier New" panose="02070309020205020404" pitchFamily="49" charset="0"/>
              </a:rPr>
              <a:t>Access</a:t>
            </a:r>
            <a:r>
              <a:rPr lang="en-US" sz="1600" b="1" dirty="0" err="1" smtClean="0">
                <a:solidFill>
                  <a:srgbClr val="00B050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Courier New" panose="02070309020205020404" pitchFamily="49" charset="0"/>
              </a:rPr>
              <a:t>Bank</a:t>
            </a:r>
            <a:endParaRPr lang="pt-BR" sz="1600" b="1" dirty="0">
              <a:solidFill>
                <a:srgbClr val="00B050"/>
              </a:solidFill>
              <a:latin typeface="Segoe UI Symbol" panose="020B0502040204020203" pitchFamily="34" charset="0"/>
              <a:ea typeface="Segoe UI Symbol" panose="020B0502040204020203" pitchFamily="34" charset="0"/>
              <a:cs typeface="Courier New" panose="02070309020205020404" pitchFamily="49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118246" y="297482"/>
            <a:ext cx="954107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>
                <a:solidFill>
                  <a:schemeClr val="bg1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nking Technologies</a:t>
            </a:r>
            <a:endParaRPr lang="pt-BR" sz="500" dirty="0">
              <a:solidFill>
                <a:schemeClr val="bg1">
                  <a:lumMod val="7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3" name="Picture 12" descr="https://upload.wikimedia.org/wikipedia/commons/b/be/Lineage_OS_Logo.png"/>
          <p:cNvPicPr/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5028" y="0"/>
            <a:ext cx="306324" cy="1676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Image">
            <a:extLst>
              <a:ext uri="{FF2B5EF4-FFF2-40B4-BE49-F238E27FC236}">
                <a16:creationId xmlns:a16="http://schemas.microsoft.com/office/drawing/2014/main" id="{19F04FC8-73C9-47D2-BA35-AA85CB5E7F6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76" y="4632908"/>
            <a:ext cx="1098778" cy="409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514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" name="Google Shape;346;p12"/>
          <p:cNvSpPr txBox="1">
            <a:spLocks noGrp="1"/>
          </p:cNvSpPr>
          <p:nvPr>
            <p:ph type="sldNum" idx="12"/>
          </p:nvPr>
        </p:nvSpPr>
        <p:spPr>
          <a:xfrm>
            <a:off x="8595300" y="4743617"/>
            <a:ext cx="548700" cy="357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7</a:t>
            </a:fld>
            <a:endParaRPr dirty="0"/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id="{8E566136-DC56-4B89-8300-4B8FE8B96A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3298" y="738861"/>
            <a:ext cx="5935980" cy="4225614"/>
          </a:xfrm>
          <a:prstGeom prst="rect">
            <a:avLst/>
          </a:prstGeom>
          <a:ln w="19050">
            <a:noFill/>
            <a:prstDash val="sysDash"/>
          </a:ln>
        </p:spPr>
      </p:pic>
      <p:sp>
        <p:nvSpPr>
          <p:cNvPr id="8" name="Google Shape;359;p14">
            <a:extLst>
              <a:ext uri="{FF2B5EF4-FFF2-40B4-BE49-F238E27FC236}">
                <a16:creationId xmlns:a16="http://schemas.microsoft.com/office/drawing/2014/main" id="{0C28013E-C1DC-48FB-8E15-91BACF6E6D5A}"/>
              </a:ext>
            </a:extLst>
          </p:cNvPr>
          <p:cNvSpPr txBox="1">
            <a:spLocks/>
          </p:cNvSpPr>
          <p:nvPr/>
        </p:nvSpPr>
        <p:spPr>
          <a:xfrm>
            <a:off x="13558" y="99152"/>
            <a:ext cx="9130442" cy="6397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9pPr>
          </a:lstStyle>
          <a:p>
            <a:pPr algn="ctr"/>
            <a:r>
              <a:rPr lang="pt-BR" b="1" dirty="0"/>
              <a:t>Canva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947660" y="65785"/>
            <a:ext cx="41559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 smtClean="0">
                <a:solidFill>
                  <a:schemeClr val="bg1">
                    <a:lumMod val="85000"/>
                  </a:schemeClr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Courier New" panose="02070309020205020404" pitchFamily="49" charset="0"/>
              </a:rPr>
              <a:t>Access</a:t>
            </a:r>
            <a:r>
              <a:rPr lang="en-US" sz="1600" b="1" dirty="0" err="1" smtClean="0">
                <a:solidFill>
                  <a:srgbClr val="00B050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Courier New" panose="02070309020205020404" pitchFamily="49" charset="0"/>
              </a:rPr>
              <a:t>Bank</a:t>
            </a:r>
            <a:endParaRPr lang="pt-BR" sz="1600" b="1" dirty="0">
              <a:solidFill>
                <a:srgbClr val="00B050"/>
              </a:solidFill>
              <a:latin typeface="Segoe UI Symbol" panose="020B0502040204020203" pitchFamily="34" charset="0"/>
              <a:ea typeface="Segoe UI Symbol" panose="020B0502040204020203" pitchFamily="34" charset="0"/>
              <a:cs typeface="Courier New" panose="02070309020205020404" pitchFamily="49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118246" y="297482"/>
            <a:ext cx="954107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>
                <a:solidFill>
                  <a:schemeClr val="bg1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nking Technologies</a:t>
            </a:r>
            <a:endParaRPr lang="pt-BR" sz="500" dirty="0">
              <a:solidFill>
                <a:schemeClr val="bg1">
                  <a:lumMod val="7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1" name="Picture 10" descr="https://upload.wikimedia.org/wikipedia/commons/b/be/Lineage_OS_Logo.png"/>
          <p:cNvPicPr/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5028" y="0"/>
            <a:ext cx="306324" cy="1676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Image">
            <a:extLst>
              <a:ext uri="{FF2B5EF4-FFF2-40B4-BE49-F238E27FC236}">
                <a16:creationId xmlns:a16="http://schemas.microsoft.com/office/drawing/2014/main" id="{19F04FC8-73C9-47D2-BA35-AA85CB5E7F6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76" y="4632908"/>
            <a:ext cx="1098778" cy="409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758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" name="Google Shape;346;p12"/>
          <p:cNvSpPr txBox="1">
            <a:spLocks noGrp="1"/>
          </p:cNvSpPr>
          <p:nvPr>
            <p:ph type="sldNum" idx="12"/>
          </p:nvPr>
        </p:nvSpPr>
        <p:spPr>
          <a:xfrm>
            <a:off x="8595300" y="4743617"/>
            <a:ext cx="548700" cy="357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8</a:t>
            </a:fld>
            <a:endParaRPr dirty="0"/>
          </a:p>
        </p:txBody>
      </p:sp>
      <p:sp>
        <p:nvSpPr>
          <p:cNvPr id="7" name="Google Shape;372;p16">
            <a:extLst>
              <a:ext uri="{FF2B5EF4-FFF2-40B4-BE49-F238E27FC236}">
                <a16:creationId xmlns:a16="http://schemas.microsoft.com/office/drawing/2014/main" id="{04D38679-CCA2-4E4A-AA2C-5D99988AB67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0" y="287800"/>
            <a:ext cx="9144000" cy="645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 dirty="0"/>
              <a:t>User Story</a:t>
            </a:r>
            <a:endParaRPr b="1" dirty="0"/>
          </a:p>
        </p:txBody>
      </p:sp>
      <p:grpSp>
        <p:nvGrpSpPr>
          <p:cNvPr id="9" name="Agrupar 8">
            <a:extLst>
              <a:ext uri="{FF2B5EF4-FFF2-40B4-BE49-F238E27FC236}">
                <a16:creationId xmlns:a16="http://schemas.microsoft.com/office/drawing/2014/main" id="{7BFD6DA2-8CAB-46EE-A8A7-048075866C85}"/>
              </a:ext>
            </a:extLst>
          </p:cNvPr>
          <p:cNvGrpSpPr/>
          <p:nvPr/>
        </p:nvGrpSpPr>
        <p:grpSpPr>
          <a:xfrm>
            <a:off x="2221076" y="889395"/>
            <a:ext cx="2130318" cy="2277520"/>
            <a:chOff x="1685844" y="870012"/>
            <a:chExt cx="2130318" cy="2277520"/>
          </a:xfrm>
        </p:grpSpPr>
        <p:pic>
          <p:nvPicPr>
            <p:cNvPr id="10" name="Picture 5">
              <a:extLst>
                <a:ext uri="{FF2B5EF4-FFF2-40B4-BE49-F238E27FC236}">
                  <a16:creationId xmlns:a16="http://schemas.microsoft.com/office/drawing/2014/main" id="{4B6D6229-246F-41BF-95D9-6521E8F78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85844" y="870012"/>
              <a:ext cx="2057885" cy="2277520"/>
            </a:xfrm>
            <a:prstGeom prst="rect">
              <a:avLst/>
            </a:prstGeom>
          </p:spPr>
        </p:pic>
        <p:sp>
          <p:nvSpPr>
            <p:cNvPr id="11" name="TextBox 6">
              <a:extLst>
                <a:ext uri="{FF2B5EF4-FFF2-40B4-BE49-F238E27FC236}">
                  <a16:creationId xmlns:a16="http://schemas.microsoft.com/office/drawing/2014/main" id="{DE388B9F-0B98-4D9F-95C6-3A622AA14F9F}"/>
                </a:ext>
              </a:extLst>
            </p:cNvPr>
            <p:cNvSpPr txBox="1"/>
            <p:nvPr/>
          </p:nvSpPr>
          <p:spPr>
            <a:xfrm rot="21432341">
              <a:off x="1855348" y="1424764"/>
              <a:ext cx="1960814" cy="12311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i="1" dirty="0">
                  <a:latin typeface="Papyrus" panose="03070502060502030205" pitchFamily="66" charset="0"/>
                </a:rPr>
                <a:t>Como cliente </a:t>
              </a:r>
            </a:p>
            <a:p>
              <a:r>
                <a:rPr lang="pt-BR" sz="1200" i="1" dirty="0">
                  <a:latin typeface="Papyrus" panose="03070502060502030205" pitchFamily="66" charset="0"/>
                </a:rPr>
                <a:t>preciso que a</a:t>
              </a:r>
            </a:p>
            <a:p>
              <a:r>
                <a:rPr lang="pt-BR" sz="1200" i="1" dirty="0">
                  <a:latin typeface="Papyrus" panose="03070502060502030205" pitchFamily="66" charset="0"/>
                </a:rPr>
                <a:t>monitoração seja feita 24 horas</a:t>
              </a:r>
            </a:p>
            <a:p>
              <a:r>
                <a:rPr lang="pt-BR" sz="1200" i="1" dirty="0">
                  <a:latin typeface="Papyrus" panose="03070502060502030205" pitchFamily="66" charset="0"/>
                </a:rPr>
                <a:t>por dia para maior </a:t>
              </a:r>
            </a:p>
            <a:p>
              <a:r>
                <a:rPr lang="pt-BR" sz="1200" i="1" dirty="0">
                  <a:latin typeface="Papyrus" panose="03070502060502030205" pitchFamily="66" charset="0"/>
                </a:rPr>
                <a:t>segurança do sistema.</a:t>
              </a:r>
              <a:r>
                <a:rPr lang="pt-BR" dirty="0">
                  <a:latin typeface="Papyrus" panose="03070502060502030205" pitchFamily="66" charset="0"/>
                </a:rPr>
                <a:t> </a:t>
              </a:r>
            </a:p>
          </p:txBody>
        </p:sp>
      </p:grp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28047D8E-459A-4C23-9737-2EC84500CBA7}"/>
              </a:ext>
            </a:extLst>
          </p:cNvPr>
          <p:cNvGrpSpPr/>
          <p:nvPr/>
        </p:nvGrpSpPr>
        <p:grpSpPr>
          <a:xfrm>
            <a:off x="4518572" y="875313"/>
            <a:ext cx="2057885" cy="2277520"/>
            <a:chOff x="3724037" y="1075678"/>
            <a:chExt cx="2057885" cy="227752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747DABBE-63CE-49D2-AA4C-2F71DDFE46F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4037" y="1075678"/>
              <a:ext cx="2057885" cy="2277520"/>
            </a:xfrm>
            <a:prstGeom prst="rect">
              <a:avLst/>
            </a:prstGeom>
          </p:spPr>
        </p:pic>
        <p:sp>
          <p:nvSpPr>
            <p:cNvPr id="14" name="TextBox 14">
              <a:extLst>
                <a:ext uri="{FF2B5EF4-FFF2-40B4-BE49-F238E27FC236}">
                  <a16:creationId xmlns:a16="http://schemas.microsoft.com/office/drawing/2014/main" id="{272127BA-AABF-4709-89C5-1CDE9F29791F}"/>
                </a:ext>
              </a:extLst>
            </p:cNvPr>
            <p:cNvSpPr txBox="1"/>
            <p:nvPr/>
          </p:nvSpPr>
          <p:spPr>
            <a:xfrm rot="21433104">
              <a:off x="3811957" y="1598885"/>
              <a:ext cx="1960814" cy="12311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i="1" dirty="0">
                  <a:latin typeface="Papyrus" panose="03070502060502030205" pitchFamily="66" charset="0"/>
                </a:rPr>
                <a:t>Como cliente gostaria que os alertas fossem enviados para minha empresa através de mensagens via e-mail, para nossa ciência dos acontecimentos. .</a:t>
              </a:r>
              <a:r>
                <a:rPr lang="pt-BR" dirty="0">
                  <a:latin typeface="Papyrus" panose="03070502060502030205" pitchFamily="66" charset="0"/>
                </a:rPr>
                <a:t> </a:t>
              </a:r>
            </a:p>
          </p:txBody>
        </p:sp>
      </p:grp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5481F1C8-5694-4B37-9B01-284F86FA917E}"/>
              </a:ext>
            </a:extLst>
          </p:cNvPr>
          <p:cNvGrpSpPr/>
          <p:nvPr/>
        </p:nvGrpSpPr>
        <p:grpSpPr>
          <a:xfrm>
            <a:off x="6763525" y="800827"/>
            <a:ext cx="2106125" cy="2277520"/>
            <a:chOff x="5762229" y="755546"/>
            <a:chExt cx="2106125" cy="227752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DF11E6DD-BA6B-4A61-A1FC-96FB6DE8E8D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62229" y="755546"/>
              <a:ext cx="2057885" cy="2277520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69FD9B1-F979-4F0A-B119-071676C25684}"/>
                </a:ext>
              </a:extLst>
            </p:cNvPr>
            <p:cNvSpPr txBox="1"/>
            <p:nvPr/>
          </p:nvSpPr>
          <p:spPr>
            <a:xfrm rot="21432341">
              <a:off x="5907540" y="1371085"/>
              <a:ext cx="1960814" cy="10464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i="1" dirty="0">
                  <a:latin typeface="Papyrus" panose="03070502060502030205" pitchFamily="66" charset="0"/>
                </a:rPr>
                <a:t>Como cliente preciso que os alertas me informem onde se encontra o erro, para nossa equipe reverter. </a:t>
              </a:r>
              <a:r>
                <a:rPr lang="pt-BR" dirty="0">
                  <a:latin typeface="Papyrus" panose="03070502060502030205" pitchFamily="66" charset="0"/>
                </a:rPr>
                <a:t> </a:t>
              </a:r>
            </a:p>
          </p:txBody>
        </p:sp>
      </p:grpSp>
      <p:grpSp>
        <p:nvGrpSpPr>
          <p:cNvPr id="18" name="Agrupar 17">
            <a:extLst>
              <a:ext uri="{FF2B5EF4-FFF2-40B4-BE49-F238E27FC236}">
                <a16:creationId xmlns:a16="http://schemas.microsoft.com/office/drawing/2014/main" id="{7D0CD58E-57A5-4042-BA97-4AB20C2435E8}"/>
              </a:ext>
            </a:extLst>
          </p:cNvPr>
          <p:cNvGrpSpPr/>
          <p:nvPr/>
        </p:nvGrpSpPr>
        <p:grpSpPr>
          <a:xfrm>
            <a:off x="1820835" y="2935303"/>
            <a:ext cx="2079806" cy="2277520"/>
            <a:chOff x="555625" y="2516460"/>
            <a:chExt cx="2079806" cy="2277520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C922FA5A-1146-449A-AFFE-FEBBBF47C0B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625" y="2516460"/>
              <a:ext cx="2057885" cy="2277520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64BA280C-A65A-4895-B796-61549C2B2B45}"/>
                </a:ext>
              </a:extLst>
            </p:cNvPr>
            <p:cNvSpPr txBox="1"/>
            <p:nvPr/>
          </p:nvSpPr>
          <p:spPr>
            <a:xfrm rot="21372795">
              <a:off x="674617" y="3159530"/>
              <a:ext cx="1960814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i="1" dirty="0">
                  <a:latin typeface="Papyrus" panose="03070502060502030205" pitchFamily="66" charset="0"/>
                </a:rPr>
                <a:t>Como cliente também necessito que o serviço me avise sobre qual localidade está a agência com erro, através da geolocalização. </a:t>
              </a:r>
              <a:endParaRPr lang="pt-BR" dirty="0">
                <a:latin typeface="Papyrus" panose="03070502060502030205" pitchFamily="66" charset="0"/>
              </a:endParaRPr>
            </a:p>
          </p:txBody>
        </p:sp>
      </p:grpSp>
      <p:grpSp>
        <p:nvGrpSpPr>
          <p:cNvPr id="21" name="Agrupar 20">
            <a:extLst>
              <a:ext uri="{FF2B5EF4-FFF2-40B4-BE49-F238E27FC236}">
                <a16:creationId xmlns:a16="http://schemas.microsoft.com/office/drawing/2014/main" id="{07FE7487-C819-407A-98C9-4F6E625067B3}"/>
              </a:ext>
            </a:extLst>
          </p:cNvPr>
          <p:cNvGrpSpPr/>
          <p:nvPr/>
        </p:nvGrpSpPr>
        <p:grpSpPr>
          <a:xfrm>
            <a:off x="4020446" y="2935303"/>
            <a:ext cx="2057885" cy="2277520"/>
            <a:chOff x="3181638" y="2876844"/>
            <a:chExt cx="2057885" cy="2277520"/>
          </a:xfrm>
        </p:grpSpPr>
        <p:pic>
          <p:nvPicPr>
            <p:cNvPr id="22" name="Picture 20">
              <a:extLst>
                <a:ext uri="{FF2B5EF4-FFF2-40B4-BE49-F238E27FC236}">
                  <a16:creationId xmlns:a16="http://schemas.microsoft.com/office/drawing/2014/main" id="{5B668831-35FF-4DFF-99C3-6B3FBAEBE9D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81638" y="2876844"/>
              <a:ext cx="2057885" cy="2277520"/>
            </a:xfrm>
            <a:prstGeom prst="rect">
              <a:avLst/>
            </a:prstGeom>
          </p:spPr>
        </p:pic>
        <p:sp>
          <p:nvSpPr>
            <p:cNvPr id="23" name="TextBox 21">
              <a:extLst>
                <a:ext uri="{FF2B5EF4-FFF2-40B4-BE49-F238E27FC236}">
                  <a16:creationId xmlns:a16="http://schemas.microsoft.com/office/drawing/2014/main" id="{56A1AE41-85D8-48E6-8B50-BAE36948352C}"/>
                </a:ext>
              </a:extLst>
            </p:cNvPr>
            <p:cNvSpPr txBox="1"/>
            <p:nvPr/>
          </p:nvSpPr>
          <p:spPr>
            <a:xfrm rot="21433104">
              <a:off x="3207776" y="3326613"/>
              <a:ext cx="1960814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i="1" dirty="0">
                  <a:latin typeface="Papyrus" panose="03070502060502030205" pitchFamily="66" charset="0"/>
                </a:rPr>
                <a:t>Como cliente necessito que todo o processo de monitoramento seja acompanhado com gráficos e medias, para maior visibilidade dos acontecimentos. </a:t>
              </a:r>
              <a:endParaRPr lang="pt-BR" dirty="0">
                <a:latin typeface="Papyrus" panose="03070502060502030205" pitchFamily="66" charset="0"/>
              </a:endParaRPr>
            </a:p>
          </p:txBody>
        </p:sp>
      </p:grp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4E941BB8-D2A7-4DD1-B9DF-0C305281AC45}"/>
              </a:ext>
            </a:extLst>
          </p:cNvPr>
          <p:cNvGrpSpPr/>
          <p:nvPr/>
        </p:nvGrpSpPr>
        <p:grpSpPr>
          <a:xfrm>
            <a:off x="6285784" y="2823997"/>
            <a:ext cx="2070454" cy="2277520"/>
            <a:chOff x="5530499" y="2776063"/>
            <a:chExt cx="2070454" cy="2277520"/>
          </a:xfrm>
        </p:grpSpPr>
        <p:pic>
          <p:nvPicPr>
            <p:cNvPr id="25" name="Picture 22">
              <a:extLst>
                <a:ext uri="{FF2B5EF4-FFF2-40B4-BE49-F238E27FC236}">
                  <a16:creationId xmlns:a16="http://schemas.microsoft.com/office/drawing/2014/main" id="{2583D72D-BE57-43EC-8EDC-3FDF176DC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30499" y="2776063"/>
              <a:ext cx="2057885" cy="2277520"/>
            </a:xfrm>
            <a:prstGeom prst="rect">
              <a:avLst/>
            </a:prstGeom>
          </p:spPr>
        </p:pic>
        <p:sp>
          <p:nvSpPr>
            <p:cNvPr id="26" name="TextBox 23">
              <a:extLst>
                <a:ext uri="{FF2B5EF4-FFF2-40B4-BE49-F238E27FC236}">
                  <a16:creationId xmlns:a16="http://schemas.microsoft.com/office/drawing/2014/main" id="{CFC533E3-C627-4ECF-8CCD-F757DE9C733E}"/>
                </a:ext>
              </a:extLst>
            </p:cNvPr>
            <p:cNvSpPr txBox="1"/>
            <p:nvPr/>
          </p:nvSpPr>
          <p:spPr>
            <a:xfrm rot="21432341">
              <a:off x="5640139" y="3391712"/>
              <a:ext cx="1960814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i="1" dirty="0">
                  <a:latin typeface="Papyrus" panose="03070502060502030205" pitchFamily="66" charset="0"/>
                </a:rPr>
                <a:t>Como cliente preciso que os eventos tenham uma plataforma web para ser consultada. </a:t>
              </a:r>
              <a:r>
                <a:rPr lang="pt-BR" dirty="0">
                  <a:latin typeface="Papyrus" panose="03070502060502030205" pitchFamily="66" charset="0"/>
                </a:rPr>
                <a:t> </a:t>
              </a: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7947660" y="65785"/>
            <a:ext cx="41559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 smtClean="0">
                <a:solidFill>
                  <a:schemeClr val="bg1">
                    <a:lumMod val="85000"/>
                  </a:schemeClr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Courier New" panose="02070309020205020404" pitchFamily="49" charset="0"/>
              </a:rPr>
              <a:t>Access</a:t>
            </a:r>
            <a:r>
              <a:rPr lang="en-US" sz="1600" b="1" dirty="0" err="1" smtClean="0">
                <a:solidFill>
                  <a:srgbClr val="00B050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Courier New" panose="02070309020205020404" pitchFamily="49" charset="0"/>
              </a:rPr>
              <a:t>Bank</a:t>
            </a:r>
            <a:endParaRPr lang="pt-BR" sz="1600" b="1" dirty="0">
              <a:solidFill>
                <a:srgbClr val="00B050"/>
              </a:solidFill>
              <a:latin typeface="Segoe UI Symbol" panose="020B0502040204020203" pitchFamily="34" charset="0"/>
              <a:ea typeface="Segoe UI Symbol" panose="020B0502040204020203" pitchFamily="34" charset="0"/>
              <a:cs typeface="Courier New" panose="02070309020205020404" pitchFamily="49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8118246" y="297482"/>
            <a:ext cx="954107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>
                <a:solidFill>
                  <a:schemeClr val="bg1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nking Technologies</a:t>
            </a:r>
            <a:endParaRPr lang="pt-BR" sz="500" dirty="0">
              <a:solidFill>
                <a:schemeClr val="bg1">
                  <a:lumMod val="7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29" name="Picture 28" descr="https://upload.wikimedia.org/wikipedia/commons/b/be/Lineage_OS_Logo.png"/>
          <p:cNvPicPr/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5028" y="0"/>
            <a:ext cx="306324" cy="1676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Image">
            <a:extLst>
              <a:ext uri="{FF2B5EF4-FFF2-40B4-BE49-F238E27FC236}">
                <a16:creationId xmlns:a16="http://schemas.microsoft.com/office/drawing/2014/main" id="{19F04FC8-73C9-47D2-BA35-AA85CB5E7F6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76" y="4632908"/>
            <a:ext cx="1098778" cy="409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4980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" name="Google Shape;346;p12"/>
          <p:cNvSpPr txBox="1">
            <a:spLocks noGrp="1"/>
          </p:cNvSpPr>
          <p:nvPr>
            <p:ph type="sldNum" idx="12"/>
          </p:nvPr>
        </p:nvSpPr>
        <p:spPr>
          <a:xfrm>
            <a:off x="8595300" y="4743617"/>
            <a:ext cx="548700" cy="357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9</a:t>
            </a:fld>
            <a:endParaRPr dirty="0"/>
          </a:p>
        </p:txBody>
      </p:sp>
      <p:sp>
        <p:nvSpPr>
          <p:cNvPr id="8" name="Google Shape;359;p14">
            <a:extLst>
              <a:ext uri="{FF2B5EF4-FFF2-40B4-BE49-F238E27FC236}">
                <a16:creationId xmlns:a16="http://schemas.microsoft.com/office/drawing/2014/main" id="{C45E71E0-8342-478D-8F55-E452217487DE}"/>
              </a:ext>
            </a:extLst>
          </p:cNvPr>
          <p:cNvSpPr txBox="1">
            <a:spLocks/>
          </p:cNvSpPr>
          <p:nvPr/>
        </p:nvSpPr>
        <p:spPr>
          <a:xfrm>
            <a:off x="0" y="2289254"/>
            <a:ext cx="9144000" cy="564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ts val="3600"/>
              <a:buFont typeface="Nixie One"/>
              <a:buNone/>
              <a:defRPr sz="36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9pPr>
          </a:lstStyle>
          <a:p>
            <a:pPr algn="ctr"/>
            <a:r>
              <a:rPr lang="en-US" b="1" dirty="0" err="1"/>
              <a:t>Requisitos</a:t>
            </a:r>
            <a:r>
              <a:rPr lang="en-US" b="1" dirty="0"/>
              <a:t> </a:t>
            </a:r>
            <a:r>
              <a:rPr lang="en-US" b="1" dirty="0" err="1"/>
              <a:t>Funcionais</a:t>
            </a:r>
            <a:endParaRPr lang="pt-BR" b="1" dirty="0"/>
          </a:p>
        </p:txBody>
      </p:sp>
      <p:sp>
        <p:nvSpPr>
          <p:cNvPr id="7" name="TextBox 6"/>
          <p:cNvSpPr txBox="1"/>
          <p:nvPr/>
        </p:nvSpPr>
        <p:spPr>
          <a:xfrm>
            <a:off x="7947660" y="65785"/>
            <a:ext cx="41559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 smtClean="0">
                <a:solidFill>
                  <a:schemeClr val="bg1">
                    <a:lumMod val="85000"/>
                  </a:schemeClr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Courier New" panose="02070309020205020404" pitchFamily="49" charset="0"/>
              </a:rPr>
              <a:t>Access</a:t>
            </a:r>
            <a:r>
              <a:rPr lang="en-US" sz="1600" b="1" dirty="0" err="1" smtClean="0">
                <a:solidFill>
                  <a:srgbClr val="00B050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Courier New" panose="02070309020205020404" pitchFamily="49" charset="0"/>
              </a:rPr>
              <a:t>Bank</a:t>
            </a:r>
            <a:endParaRPr lang="pt-BR" sz="1600" b="1" dirty="0">
              <a:solidFill>
                <a:srgbClr val="00B050"/>
              </a:solidFill>
              <a:latin typeface="Segoe UI Symbol" panose="020B0502040204020203" pitchFamily="34" charset="0"/>
              <a:ea typeface="Segoe UI Symbol" panose="020B0502040204020203" pitchFamily="34" charset="0"/>
              <a:cs typeface="Courier New" panose="02070309020205020404" pitchFamily="49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118246" y="297482"/>
            <a:ext cx="954107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>
                <a:solidFill>
                  <a:schemeClr val="bg1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nking Technologies</a:t>
            </a:r>
            <a:endParaRPr lang="pt-BR" sz="500" dirty="0">
              <a:solidFill>
                <a:schemeClr val="bg1">
                  <a:lumMod val="7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0" name="Picture 9" descr="https://upload.wikimedia.org/wikipedia/commons/b/be/Lineage_OS_Logo.png"/>
          <p:cNvPicPr/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5028" y="0"/>
            <a:ext cx="306324" cy="1676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Image">
            <a:extLst>
              <a:ext uri="{FF2B5EF4-FFF2-40B4-BE49-F238E27FC236}">
                <a16:creationId xmlns:a16="http://schemas.microsoft.com/office/drawing/2014/main" id="{19F04FC8-73C9-47D2-BA35-AA85CB5E7F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76" y="4632908"/>
            <a:ext cx="1098778" cy="409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838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mogen template">
  <a:themeElements>
    <a:clrScheme name="Custom 347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3A81BA"/>
      </a:accent1>
      <a:accent2>
        <a:srgbClr val="D89F39"/>
      </a:accent2>
      <a:accent3>
        <a:srgbClr val="8BAB42"/>
      </a:accent3>
      <a:accent4>
        <a:srgbClr val="57A7B5"/>
      </a:accent4>
      <a:accent5>
        <a:srgbClr val="8B81D2"/>
      </a:accent5>
      <a:accent6>
        <a:srgbClr val="963334"/>
      </a:accent6>
      <a:hlink>
        <a:srgbClr val="1155CC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F3CC155F2FBB72499B499F746BE7ADCD" ma:contentTypeVersion="5" ma:contentTypeDescription="Crie um novo documento." ma:contentTypeScope="" ma:versionID="7a35c2dbb781a0f0d10eced60772e7a6">
  <xsd:schema xmlns:xsd="http://www.w3.org/2001/XMLSchema" xmlns:xs="http://www.w3.org/2001/XMLSchema" xmlns:p="http://schemas.microsoft.com/office/2006/metadata/properties" xmlns:ns2="7108ced6-578b-4fbf-90af-59eca2ad4e6d" targetNamespace="http://schemas.microsoft.com/office/2006/metadata/properties" ma:root="true" ma:fieldsID="fcbbd0948a3a95004be1ab30617edaac" ns2:_="">
    <xsd:import namespace="7108ced6-578b-4fbf-90af-59eca2ad4e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08ced6-578b-4fbf-90af-59eca2ad4e6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091D38D-4BA9-464A-BD21-FB55018B7320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7108ced6-578b-4fbf-90af-59eca2ad4e6d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B14107D-9722-414B-B660-504321140CA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08ced6-578b-4fbf-90af-59eca2ad4e6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87D6CB3-4D3B-4FCA-BCF0-907FF363E3F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32</TotalTime>
  <Words>257</Words>
  <Application>Microsoft Office PowerPoint</Application>
  <PresentationFormat>On-screen Show (16:9)</PresentationFormat>
  <Paragraphs>85</Paragraphs>
  <Slides>16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0" baseType="lpstr">
      <vt:lpstr>Muli</vt:lpstr>
      <vt:lpstr>Simplon Oi Headline</vt:lpstr>
      <vt:lpstr>Courier New</vt:lpstr>
      <vt:lpstr>Segoe UI Symbol</vt:lpstr>
      <vt:lpstr>Papyrus</vt:lpstr>
      <vt:lpstr>MV Boli</vt:lpstr>
      <vt:lpstr>Simplon BP Regular</vt:lpstr>
      <vt:lpstr>Helvetica Neue</vt:lpstr>
      <vt:lpstr>Arial</vt:lpstr>
      <vt:lpstr>Simplon BP Medium</vt:lpstr>
      <vt:lpstr>Calibri</vt:lpstr>
      <vt:lpstr>Nixie One</vt:lpstr>
      <vt:lpstr>Imogen template</vt:lpstr>
      <vt:lpstr>Slide do think-cell</vt:lpstr>
      <vt:lpstr>PowerPoint Presentation</vt:lpstr>
      <vt:lpstr>Pesquisa e Inovação</vt:lpstr>
      <vt:lpstr>Team</vt:lpstr>
      <vt:lpstr>PowerPoint Presentation</vt:lpstr>
      <vt:lpstr>PowerPoint Presentation</vt:lpstr>
      <vt:lpstr>PowerPoint Presentation</vt:lpstr>
      <vt:lpstr>PowerPoint Presentation</vt:lpstr>
      <vt:lpstr>User Stor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squisa e inovação</dc:title>
  <dc:creator>Rodolfo Gregorio</dc:creator>
  <cp:lastModifiedBy>Rodolfo Gregorio</cp:lastModifiedBy>
  <cp:revision>51</cp:revision>
  <dcterms:modified xsi:type="dcterms:W3CDTF">2019-03-18T16:40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CC155F2FBB72499B499F746BE7ADCD</vt:lpwstr>
  </property>
  <property fmtid="{D5CDD505-2E9C-101B-9397-08002B2CF9AE}" pid="3" name="SSDCxCLASSFICATION_LEVEL">
    <vt:lpwstr>1</vt:lpwstr>
  </property>
  <property fmtid="{D5CDD505-2E9C-101B-9397-08002B2CF9AE}" pid="4" name="SSDCxCLASSFICATION_USER">
    <vt:lpwstr>SOACAT\500765</vt:lpwstr>
  </property>
  <property fmtid="{D5CDD505-2E9C-101B-9397-08002B2CF9AE}" pid="5" name="SSDCxCLASSFICATION_DATE">
    <vt:lpwstr>18/03/2019 13:25:33</vt:lpwstr>
  </property>
  <property fmtid="{D5CDD505-2E9C-101B-9397-08002B2CF9AE}" pid="6" name="SSDCxCLASSFICATION_GUID">
    <vt:lpwstr>B1F0C97D1DBF986A4C0DA8B8BC7B6A58</vt:lpwstr>
  </property>
  <property fmtid="{D5CDD505-2E9C-101B-9397-08002B2CF9AE}" pid="7" name="SSDCxCLASSFICATION_LANG">
    <vt:lpwstr>pt</vt:lpwstr>
  </property>
</Properties>
</file>